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6"/>
    <p:sldMasterId id="2147483661" r:id="rId7"/>
    <p:sldMasterId id="2147483674" r:id="rId8"/>
  </p:sldMasterIdLst>
  <p:notesMasterIdLst>
    <p:notesMasterId r:id="rId34"/>
  </p:notesMasterIdLst>
  <p:sldIdLst>
    <p:sldId id="284" r:id="rId9"/>
    <p:sldId id="263" r:id="rId10"/>
    <p:sldId id="261" r:id="rId11"/>
    <p:sldId id="262" r:id="rId12"/>
    <p:sldId id="285" r:id="rId13"/>
    <p:sldId id="264" r:id="rId14"/>
    <p:sldId id="293" r:id="rId15"/>
    <p:sldId id="295" r:id="rId16"/>
    <p:sldId id="314" r:id="rId17"/>
    <p:sldId id="313" r:id="rId18"/>
    <p:sldId id="312" r:id="rId19"/>
    <p:sldId id="311" r:id="rId20"/>
    <p:sldId id="309" r:id="rId21"/>
    <p:sldId id="308" r:id="rId22"/>
    <p:sldId id="307" r:id="rId23"/>
    <p:sldId id="306" r:id="rId24"/>
    <p:sldId id="305" r:id="rId25"/>
    <p:sldId id="304" r:id="rId26"/>
    <p:sldId id="303" r:id="rId27"/>
    <p:sldId id="302" r:id="rId28"/>
    <p:sldId id="301" r:id="rId29"/>
    <p:sldId id="300" r:id="rId30"/>
    <p:sldId id="299" r:id="rId31"/>
    <p:sldId id="298" r:id="rId32"/>
    <p:sldId id="297" r:id="rId33"/>
  </p:sldIdLst>
  <p:sldSz cx="12192000" cy="6858000"/>
  <p:notesSz cx="6858000" cy="91440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F82552D-4674-4064-B7E4-0C31FE38EDAF}" v="40" dt="2019-03-11T18:19:56.53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141" d="100"/>
          <a:sy n="141" d="100"/>
        </p:scale>
        <p:origin x="672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viewProps" Target="viewProps.xml"/><Relationship Id="rId58" Type="http://schemas.microsoft.com/office/2015/10/relationships/revisionInfo" Target="revisionInfo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presProps" Target="presProps.xml"/><Relationship Id="rId57" Type="http://schemas.microsoft.com/office/2016/11/relationships/changesInfo" Target="changesInfos/changesInfo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uren Harley (MCI Washington)" userId="900acd5e37c86e5a" providerId="OrgId" clId="{5F82552D-4674-4064-B7E4-0C31FE38EDAF}"/>
    <pc:docChg chg="custSel addSld delSld modSld">
      <pc:chgData name="Lauren Harley (MCI Washington)" userId="900acd5e37c86e5a" providerId="OrgId" clId="{5F82552D-4674-4064-B7E4-0C31FE38EDAF}" dt="2019-03-11T19:31:25.028" v="62" actId="2696"/>
      <pc:docMkLst>
        <pc:docMk/>
      </pc:docMkLst>
      <pc:sldChg chg="del">
        <pc:chgData name="Lauren Harley (MCI Washington)" userId="900acd5e37c86e5a" providerId="OrgId" clId="{5F82552D-4674-4064-B7E4-0C31FE38EDAF}" dt="2019-03-11T18:16:57.331" v="41" actId="2696"/>
        <pc:sldMkLst>
          <pc:docMk/>
          <pc:sldMk cId="419362372" sldId="256"/>
        </pc:sldMkLst>
      </pc:sldChg>
      <pc:sldChg chg="modSp add del">
        <pc:chgData name="Lauren Harley (MCI Washington)" userId="900acd5e37c86e5a" providerId="OrgId" clId="{5F82552D-4674-4064-B7E4-0C31FE38EDAF}" dt="2019-03-11T19:31:17.351" v="58" actId="2696"/>
        <pc:sldMkLst>
          <pc:docMk/>
          <pc:sldMk cId="3393255449" sldId="257"/>
        </pc:sldMkLst>
        <pc:spChg chg="mod">
          <ac:chgData name="Lauren Harley (MCI Washington)" userId="900acd5e37c86e5a" providerId="OrgId" clId="{5F82552D-4674-4064-B7E4-0C31FE38EDAF}" dt="2019-03-11T18:17:13.793" v="42"/>
          <ac:spMkLst>
            <pc:docMk/>
            <pc:sldMk cId="3393255449" sldId="257"/>
            <ac:spMk id="2" creationId="{E884BA2D-4B8F-4DDE-9945-A63125F19978}"/>
          </ac:spMkLst>
        </pc:spChg>
        <pc:spChg chg="mod">
          <ac:chgData name="Lauren Harley (MCI Washington)" userId="900acd5e37c86e5a" providerId="OrgId" clId="{5F82552D-4674-4064-B7E4-0C31FE38EDAF}" dt="2019-03-11T18:17:22.366" v="43"/>
          <ac:spMkLst>
            <pc:docMk/>
            <pc:sldMk cId="3393255449" sldId="257"/>
            <ac:spMk id="3" creationId="{214E7A70-6471-4E39-A9FF-377B85D463F8}"/>
          </ac:spMkLst>
        </pc:spChg>
      </pc:sldChg>
      <pc:sldChg chg="modSp add del">
        <pc:chgData name="Lauren Harley (MCI Washington)" userId="900acd5e37c86e5a" providerId="OrgId" clId="{5F82552D-4674-4064-B7E4-0C31FE38EDAF}" dt="2019-03-11T19:31:25.028" v="62" actId="2696"/>
        <pc:sldMkLst>
          <pc:docMk/>
          <pc:sldMk cId="4147066705" sldId="258"/>
        </pc:sldMkLst>
        <pc:spChg chg="mod">
          <ac:chgData name="Lauren Harley (MCI Washington)" userId="900acd5e37c86e5a" providerId="OrgId" clId="{5F82552D-4674-4064-B7E4-0C31FE38EDAF}" dt="2019-03-11T18:17:39.661" v="46" actId="20577"/>
          <ac:spMkLst>
            <pc:docMk/>
            <pc:sldMk cId="4147066705" sldId="258"/>
            <ac:spMk id="2" creationId="{7CB87BAF-C716-4673-B17A-432ED0909646}"/>
          </ac:spMkLst>
        </pc:spChg>
      </pc:sldChg>
      <pc:sldChg chg="modSp add del">
        <pc:chgData name="Lauren Harley (MCI Washington)" userId="900acd5e37c86e5a" providerId="OrgId" clId="{5F82552D-4674-4064-B7E4-0C31FE38EDAF}" dt="2019-03-11T19:31:25.025" v="61" actId="2696"/>
        <pc:sldMkLst>
          <pc:docMk/>
          <pc:sldMk cId="2419487244" sldId="259"/>
        </pc:sldMkLst>
        <pc:spChg chg="mod">
          <ac:chgData name="Lauren Harley (MCI Washington)" userId="900acd5e37c86e5a" providerId="OrgId" clId="{5F82552D-4674-4064-B7E4-0C31FE38EDAF}" dt="2019-03-11T18:18:49.975" v="47"/>
          <ac:spMkLst>
            <pc:docMk/>
            <pc:sldMk cId="2419487244" sldId="259"/>
            <ac:spMk id="2" creationId="{14B25A54-EB82-4C6F-9E48-8215F591CD95}"/>
          </ac:spMkLst>
        </pc:spChg>
      </pc:sldChg>
      <pc:sldChg chg="modSp add del">
        <pc:chgData name="Lauren Harley (MCI Washington)" userId="900acd5e37c86e5a" providerId="OrgId" clId="{5F82552D-4674-4064-B7E4-0C31FE38EDAF}" dt="2019-03-11T19:31:25.022" v="60" actId="2696"/>
        <pc:sldMkLst>
          <pc:docMk/>
          <pc:sldMk cId="1687444030" sldId="260"/>
        </pc:sldMkLst>
        <pc:spChg chg="mod">
          <ac:chgData name="Lauren Harley (MCI Washington)" userId="900acd5e37c86e5a" providerId="OrgId" clId="{5F82552D-4674-4064-B7E4-0C31FE38EDAF}" dt="2019-03-11T18:19:00.363" v="48"/>
          <ac:spMkLst>
            <pc:docMk/>
            <pc:sldMk cId="1687444030" sldId="260"/>
            <ac:spMk id="2" creationId="{F234FFDB-CFC3-485D-99A4-7BE764291965}"/>
          </ac:spMkLst>
        </pc:spChg>
      </pc:sldChg>
      <pc:sldChg chg="add">
        <pc:chgData name="Lauren Harley (MCI Washington)" userId="900acd5e37c86e5a" providerId="OrgId" clId="{5F82552D-4674-4064-B7E4-0C31FE38EDAF}" dt="2019-03-11T18:09:11.264" v="4"/>
        <pc:sldMkLst>
          <pc:docMk/>
          <pc:sldMk cId="2172623501" sldId="261"/>
        </pc:sldMkLst>
      </pc:sldChg>
      <pc:sldChg chg="add">
        <pc:chgData name="Lauren Harley (MCI Washington)" userId="900acd5e37c86e5a" providerId="OrgId" clId="{5F82552D-4674-4064-B7E4-0C31FE38EDAF}" dt="2019-03-11T18:09:11.912" v="5"/>
        <pc:sldMkLst>
          <pc:docMk/>
          <pc:sldMk cId="2253877115" sldId="262"/>
        </pc:sldMkLst>
      </pc:sldChg>
      <pc:sldChg chg="add">
        <pc:chgData name="Lauren Harley (MCI Washington)" userId="900acd5e37c86e5a" providerId="OrgId" clId="{5F82552D-4674-4064-B7E4-0C31FE38EDAF}" dt="2019-03-11T18:09:11.963" v="6"/>
        <pc:sldMkLst>
          <pc:docMk/>
          <pc:sldMk cId="2978216383" sldId="263"/>
        </pc:sldMkLst>
      </pc:sldChg>
      <pc:sldChg chg="add">
        <pc:chgData name="Lauren Harley (MCI Washington)" userId="900acd5e37c86e5a" providerId="OrgId" clId="{5F82552D-4674-4064-B7E4-0C31FE38EDAF}" dt="2019-03-11T18:09:11.997" v="7"/>
        <pc:sldMkLst>
          <pc:docMk/>
          <pc:sldMk cId="275212576" sldId="264"/>
        </pc:sldMkLst>
      </pc:sldChg>
      <pc:sldChg chg="add">
        <pc:chgData name="Lauren Harley (MCI Washington)" userId="900acd5e37c86e5a" providerId="OrgId" clId="{5F82552D-4674-4064-B7E4-0C31FE38EDAF}" dt="2019-03-11T18:09:12.654" v="8"/>
        <pc:sldMkLst>
          <pc:docMk/>
          <pc:sldMk cId="275934667" sldId="265"/>
        </pc:sldMkLst>
      </pc:sldChg>
      <pc:sldChg chg="add">
        <pc:chgData name="Lauren Harley (MCI Washington)" userId="900acd5e37c86e5a" providerId="OrgId" clId="{5F82552D-4674-4064-B7E4-0C31FE38EDAF}" dt="2019-03-11T18:09:12.681" v="9"/>
        <pc:sldMkLst>
          <pc:docMk/>
          <pc:sldMk cId="1087742400" sldId="266"/>
        </pc:sldMkLst>
      </pc:sldChg>
      <pc:sldChg chg="add">
        <pc:chgData name="Lauren Harley (MCI Washington)" userId="900acd5e37c86e5a" providerId="OrgId" clId="{5F82552D-4674-4064-B7E4-0C31FE38EDAF}" dt="2019-03-11T18:09:12.709" v="10"/>
        <pc:sldMkLst>
          <pc:docMk/>
          <pc:sldMk cId="1728222081" sldId="267"/>
        </pc:sldMkLst>
      </pc:sldChg>
      <pc:sldChg chg="add">
        <pc:chgData name="Lauren Harley (MCI Washington)" userId="900acd5e37c86e5a" providerId="OrgId" clId="{5F82552D-4674-4064-B7E4-0C31FE38EDAF}" dt="2019-03-11T18:09:12.755" v="11"/>
        <pc:sldMkLst>
          <pc:docMk/>
          <pc:sldMk cId="4006327560" sldId="268"/>
        </pc:sldMkLst>
      </pc:sldChg>
      <pc:sldChg chg="add">
        <pc:chgData name="Lauren Harley (MCI Washington)" userId="900acd5e37c86e5a" providerId="OrgId" clId="{5F82552D-4674-4064-B7E4-0C31FE38EDAF}" dt="2019-03-11T18:09:13.392" v="12"/>
        <pc:sldMkLst>
          <pc:docMk/>
          <pc:sldMk cId="351933870" sldId="269"/>
        </pc:sldMkLst>
      </pc:sldChg>
      <pc:sldChg chg="add">
        <pc:chgData name="Lauren Harley (MCI Washington)" userId="900acd5e37c86e5a" providerId="OrgId" clId="{5F82552D-4674-4064-B7E4-0C31FE38EDAF}" dt="2019-03-11T18:09:13.434" v="13"/>
        <pc:sldMkLst>
          <pc:docMk/>
          <pc:sldMk cId="1465654426" sldId="270"/>
        </pc:sldMkLst>
      </pc:sldChg>
      <pc:sldChg chg="add">
        <pc:chgData name="Lauren Harley (MCI Washington)" userId="900acd5e37c86e5a" providerId="OrgId" clId="{5F82552D-4674-4064-B7E4-0C31FE38EDAF}" dt="2019-03-11T18:09:13.475" v="14"/>
        <pc:sldMkLst>
          <pc:docMk/>
          <pc:sldMk cId="3477496457" sldId="271"/>
        </pc:sldMkLst>
      </pc:sldChg>
      <pc:sldChg chg="add">
        <pc:chgData name="Lauren Harley (MCI Washington)" userId="900acd5e37c86e5a" providerId="OrgId" clId="{5F82552D-4674-4064-B7E4-0C31FE38EDAF}" dt="2019-03-11T18:09:13.620" v="15"/>
        <pc:sldMkLst>
          <pc:docMk/>
          <pc:sldMk cId="814279515" sldId="272"/>
        </pc:sldMkLst>
      </pc:sldChg>
      <pc:sldChg chg="add">
        <pc:chgData name="Lauren Harley (MCI Washington)" userId="900acd5e37c86e5a" providerId="OrgId" clId="{5F82552D-4674-4064-B7E4-0C31FE38EDAF}" dt="2019-03-11T18:09:14.158" v="16"/>
        <pc:sldMkLst>
          <pc:docMk/>
          <pc:sldMk cId="952776945" sldId="273"/>
        </pc:sldMkLst>
      </pc:sldChg>
      <pc:sldChg chg="add">
        <pc:chgData name="Lauren Harley (MCI Washington)" userId="900acd5e37c86e5a" providerId="OrgId" clId="{5F82552D-4674-4064-B7E4-0C31FE38EDAF}" dt="2019-03-11T18:09:14.190" v="17"/>
        <pc:sldMkLst>
          <pc:docMk/>
          <pc:sldMk cId="1178596743" sldId="274"/>
        </pc:sldMkLst>
      </pc:sldChg>
      <pc:sldChg chg="add">
        <pc:chgData name="Lauren Harley (MCI Washington)" userId="900acd5e37c86e5a" providerId="OrgId" clId="{5F82552D-4674-4064-B7E4-0C31FE38EDAF}" dt="2019-03-11T18:09:14.274" v="18"/>
        <pc:sldMkLst>
          <pc:docMk/>
          <pc:sldMk cId="3305201582" sldId="275"/>
        </pc:sldMkLst>
      </pc:sldChg>
      <pc:sldChg chg="add">
        <pc:chgData name="Lauren Harley (MCI Washington)" userId="900acd5e37c86e5a" providerId="OrgId" clId="{5F82552D-4674-4064-B7E4-0C31FE38EDAF}" dt="2019-03-11T18:09:14.877" v="19"/>
        <pc:sldMkLst>
          <pc:docMk/>
          <pc:sldMk cId="2314502690" sldId="276"/>
        </pc:sldMkLst>
      </pc:sldChg>
      <pc:sldChg chg="add">
        <pc:chgData name="Lauren Harley (MCI Washington)" userId="900acd5e37c86e5a" providerId="OrgId" clId="{5F82552D-4674-4064-B7E4-0C31FE38EDAF}" dt="2019-03-11T18:09:14.910" v="20"/>
        <pc:sldMkLst>
          <pc:docMk/>
          <pc:sldMk cId="2911921918" sldId="277"/>
        </pc:sldMkLst>
      </pc:sldChg>
      <pc:sldChg chg="add">
        <pc:chgData name="Lauren Harley (MCI Washington)" userId="900acd5e37c86e5a" providerId="OrgId" clId="{5F82552D-4674-4064-B7E4-0C31FE38EDAF}" dt="2019-03-11T18:09:15.026" v="21"/>
        <pc:sldMkLst>
          <pc:docMk/>
          <pc:sldMk cId="520244367" sldId="278"/>
        </pc:sldMkLst>
      </pc:sldChg>
      <pc:sldChg chg="add">
        <pc:chgData name="Lauren Harley (MCI Washington)" userId="900acd5e37c86e5a" providerId="OrgId" clId="{5F82552D-4674-4064-B7E4-0C31FE38EDAF}" dt="2019-03-11T18:09:15.575" v="22"/>
        <pc:sldMkLst>
          <pc:docMk/>
          <pc:sldMk cId="948962194" sldId="279"/>
        </pc:sldMkLst>
      </pc:sldChg>
      <pc:sldChg chg="add">
        <pc:chgData name="Lauren Harley (MCI Washington)" userId="900acd5e37c86e5a" providerId="OrgId" clId="{5F82552D-4674-4064-B7E4-0C31FE38EDAF}" dt="2019-03-11T18:09:16.490" v="23"/>
        <pc:sldMkLst>
          <pc:docMk/>
          <pc:sldMk cId="4116098248" sldId="280"/>
        </pc:sldMkLst>
      </pc:sldChg>
      <pc:sldChg chg="add">
        <pc:chgData name="Lauren Harley (MCI Washington)" userId="900acd5e37c86e5a" providerId="OrgId" clId="{5F82552D-4674-4064-B7E4-0C31FE38EDAF}" dt="2019-03-11T18:09:17.914" v="24"/>
        <pc:sldMkLst>
          <pc:docMk/>
          <pc:sldMk cId="2547679050" sldId="281"/>
        </pc:sldMkLst>
      </pc:sldChg>
      <pc:sldChg chg="add">
        <pc:chgData name="Lauren Harley (MCI Washington)" userId="900acd5e37c86e5a" providerId="OrgId" clId="{5F82552D-4674-4064-B7E4-0C31FE38EDAF}" dt="2019-03-11T18:09:18.986" v="25"/>
        <pc:sldMkLst>
          <pc:docMk/>
          <pc:sldMk cId="882136215" sldId="282"/>
        </pc:sldMkLst>
      </pc:sldChg>
      <pc:sldChg chg="add">
        <pc:chgData name="Lauren Harley (MCI Washington)" userId="900acd5e37c86e5a" providerId="OrgId" clId="{5F82552D-4674-4064-B7E4-0C31FE38EDAF}" dt="2019-03-11T18:09:19.781" v="26"/>
        <pc:sldMkLst>
          <pc:docMk/>
          <pc:sldMk cId="4293007690" sldId="283"/>
        </pc:sldMkLst>
      </pc:sldChg>
      <pc:sldChg chg="delSp modSp add setBg">
        <pc:chgData name="Lauren Harley (MCI Washington)" userId="900acd5e37c86e5a" providerId="OrgId" clId="{5F82552D-4674-4064-B7E4-0C31FE38EDAF}" dt="2019-03-11T19:31:09.327" v="57" actId="478"/>
        <pc:sldMkLst>
          <pc:docMk/>
          <pc:sldMk cId="211937760" sldId="284"/>
        </pc:sldMkLst>
        <pc:spChg chg="del">
          <ac:chgData name="Lauren Harley (MCI Washington)" userId="900acd5e37c86e5a" providerId="OrgId" clId="{5F82552D-4674-4064-B7E4-0C31FE38EDAF}" dt="2019-03-11T18:10:59.502" v="34" actId="478"/>
          <ac:spMkLst>
            <pc:docMk/>
            <pc:sldMk cId="211937760" sldId="284"/>
            <ac:spMk id="2" creationId="{00000000-0000-0000-0000-000000000000}"/>
          </ac:spMkLst>
        </pc:spChg>
        <pc:spChg chg="del">
          <ac:chgData name="Lauren Harley (MCI Washington)" userId="900acd5e37c86e5a" providerId="OrgId" clId="{5F82552D-4674-4064-B7E4-0C31FE38EDAF}" dt="2019-03-11T18:10:30.095" v="30" actId="478"/>
          <ac:spMkLst>
            <pc:docMk/>
            <pc:sldMk cId="211937760" sldId="284"/>
            <ac:spMk id="3" creationId="{00000000-0000-0000-0000-000000000000}"/>
          </ac:spMkLst>
        </pc:spChg>
        <pc:spChg chg="del mod">
          <ac:chgData name="Lauren Harley (MCI Washington)" userId="900acd5e37c86e5a" providerId="OrgId" clId="{5F82552D-4674-4064-B7E4-0C31FE38EDAF}" dt="2019-03-11T19:31:09.327" v="57" actId="478"/>
          <ac:spMkLst>
            <pc:docMk/>
            <pc:sldMk cId="211937760" sldId="284"/>
            <ac:spMk id="5" creationId="{00000000-0000-0000-0000-000000000000}"/>
          </ac:spMkLst>
        </pc:spChg>
        <pc:picChg chg="del">
          <ac:chgData name="Lauren Harley (MCI Washington)" userId="900acd5e37c86e5a" providerId="OrgId" clId="{5F82552D-4674-4064-B7E4-0C31FE38EDAF}" dt="2019-03-11T18:10:27.790" v="29" actId="478"/>
          <ac:picMkLst>
            <pc:docMk/>
            <pc:sldMk cId="211937760" sldId="284"/>
            <ac:picMk id="4" creationId="{00000000-0000-0000-0000-000000000000}"/>
          </ac:picMkLst>
        </pc:picChg>
      </pc:sldChg>
      <pc:sldChg chg="modSp add del">
        <pc:chgData name="Lauren Harley (MCI Washington)" userId="900acd5e37c86e5a" providerId="OrgId" clId="{5F82552D-4674-4064-B7E4-0C31FE38EDAF}" dt="2019-03-11T19:31:25.017" v="59" actId="2696"/>
        <pc:sldMkLst>
          <pc:docMk/>
          <pc:sldMk cId="2212000551" sldId="285"/>
        </pc:sldMkLst>
        <pc:spChg chg="mod">
          <ac:chgData name="Lauren Harley (MCI Washington)" userId="900acd5e37c86e5a" providerId="OrgId" clId="{5F82552D-4674-4064-B7E4-0C31FE38EDAF}" dt="2019-03-11T18:19:35.335" v="50" actId="1076"/>
          <ac:spMkLst>
            <pc:docMk/>
            <pc:sldMk cId="2212000551" sldId="285"/>
            <ac:spMk id="2" creationId="{00000000-0000-0000-0000-000000000000}"/>
          </ac:spMkLst>
        </pc:spChg>
        <pc:spChg chg="mod">
          <ac:chgData name="Lauren Harley (MCI Washington)" userId="900acd5e37c86e5a" providerId="OrgId" clId="{5F82552D-4674-4064-B7E4-0C31FE38EDAF}" dt="2019-03-11T18:19:37.713" v="51" actId="1076"/>
          <ac:spMkLst>
            <pc:docMk/>
            <pc:sldMk cId="2212000551" sldId="285"/>
            <ac:spMk id="6" creationId="{00000000-0000-0000-0000-000000000000}"/>
          </ac:spMkLst>
        </pc:spChg>
        <pc:graphicFrameChg chg="mod">
          <ac:chgData name="Lauren Harley (MCI Washington)" userId="900acd5e37c86e5a" providerId="OrgId" clId="{5F82552D-4674-4064-B7E4-0C31FE38EDAF}" dt="2019-03-11T18:19:56.503" v="56" actId="14100"/>
          <ac:graphicFrameMkLst>
            <pc:docMk/>
            <pc:sldMk cId="2212000551" sldId="285"/>
            <ac:graphicFrameMk id="4" creationId="{00000000-0000-0000-0000-000000000000}"/>
          </ac:graphicFrameMkLst>
        </pc:graphicFrameChg>
      </pc:sldChg>
      <pc:sldChg chg="add del">
        <pc:chgData name="Lauren Harley (MCI Washington)" userId="900acd5e37c86e5a" providerId="OrgId" clId="{5F82552D-4674-4064-B7E4-0C31FE38EDAF}" dt="2019-03-11T18:16:51.842" v="40" actId="2696"/>
        <pc:sldMkLst>
          <pc:docMk/>
          <pc:sldMk cId="3697498647" sldId="285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 err="1" smtClean="0">
                <a:solidFill>
                  <a:schemeClr val="tx1"/>
                </a:solidFill>
              </a:rPr>
              <a:t>Eurekahedge</a:t>
            </a:r>
            <a:r>
              <a:rPr lang="en-US" sz="1400" dirty="0" smtClean="0">
                <a:solidFill>
                  <a:schemeClr val="tx1"/>
                </a:solidFill>
              </a:rPr>
              <a:t> ILS Advisers Index December 2005 -</a:t>
            </a:r>
            <a:r>
              <a:rPr lang="en-US" sz="1400" baseline="0" dirty="0" smtClean="0">
                <a:solidFill>
                  <a:schemeClr val="tx1"/>
                </a:solidFill>
              </a:rPr>
              <a:t> February </a:t>
            </a:r>
            <a:r>
              <a:rPr lang="en-US" sz="1400" dirty="0">
                <a:solidFill>
                  <a:schemeClr val="tx1"/>
                </a:solidFill>
              </a:rPr>
              <a:t>2019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0000CC"/>
              </a:solidFill>
              <a:round/>
            </a:ln>
            <a:effectLst/>
          </c:spPr>
          <c:marker>
            <c:symbol val="none"/>
          </c:marker>
          <c:cat>
            <c:numRef>
              <c:f>'EHI635_returns22-03-2019'!$F$5:$F$163</c:f>
              <c:numCache>
                <c:formatCode>[$-409]mmm/yy;@</c:formatCode>
                <c:ptCount val="159"/>
                <c:pt idx="0">
                  <c:v>38687</c:v>
                </c:pt>
                <c:pt idx="1">
                  <c:v>38718</c:v>
                </c:pt>
                <c:pt idx="2">
                  <c:v>38749</c:v>
                </c:pt>
                <c:pt idx="3">
                  <c:v>38777</c:v>
                </c:pt>
                <c:pt idx="4">
                  <c:v>38808</c:v>
                </c:pt>
                <c:pt idx="5">
                  <c:v>38838</c:v>
                </c:pt>
                <c:pt idx="6">
                  <c:v>38869</c:v>
                </c:pt>
                <c:pt idx="7">
                  <c:v>38899</c:v>
                </c:pt>
                <c:pt idx="8">
                  <c:v>38930</c:v>
                </c:pt>
                <c:pt idx="9">
                  <c:v>38961</c:v>
                </c:pt>
                <c:pt idx="10">
                  <c:v>38991</c:v>
                </c:pt>
                <c:pt idx="11">
                  <c:v>39022</c:v>
                </c:pt>
                <c:pt idx="12">
                  <c:v>39052</c:v>
                </c:pt>
                <c:pt idx="13">
                  <c:v>39083</c:v>
                </c:pt>
                <c:pt idx="14">
                  <c:v>39114</c:v>
                </c:pt>
                <c:pt idx="15">
                  <c:v>39142</c:v>
                </c:pt>
                <c:pt idx="16">
                  <c:v>39173</c:v>
                </c:pt>
                <c:pt idx="17">
                  <c:v>39203</c:v>
                </c:pt>
                <c:pt idx="18">
                  <c:v>39234</c:v>
                </c:pt>
                <c:pt idx="19">
                  <c:v>39264</c:v>
                </c:pt>
                <c:pt idx="20">
                  <c:v>39295</c:v>
                </c:pt>
                <c:pt idx="21">
                  <c:v>39326</c:v>
                </c:pt>
                <c:pt idx="22">
                  <c:v>39356</c:v>
                </c:pt>
                <c:pt idx="23">
                  <c:v>39387</c:v>
                </c:pt>
                <c:pt idx="24">
                  <c:v>39417</c:v>
                </c:pt>
                <c:pt idx="25">
                  <c:v>39448</c:v>
                </c:pt>
                <c:pt idx="26">
                  <c:v>39479</c:v>
                </c:pt>
                <c:pt idx="27">
                  <c:v>39508</c:v>
                </c:pt>
                <c:pt idx="28">
                  <c:v>39539</c:v>
                </c:pt>
                <c:pt idx="29">
                  <c:v>39569</c:v>
                </c:pt>
                <c:pt idx="30">
                  <c:v>39600</c:v>
                </c:pt>
                <c:pt idx="31">
                  <c:v>39630</c:v>
                </c:pt>
                <c:pt idx="32">
                  <c:v>39661</c:v>
                </c:pt>
                <c:pt idx="33">
                  <c:v>39692</c:v>
                </c:pt>
                <c:pt idx="34">
                  <c:v>39722</c:v>
                </c:pt>
                <c:pt idx="35">
                  <c:v>39753</c:v>
                </c:pt>
                <c:pt idx="36">
                  <c:v>39783</c:v>
                </c:pt>
                <c:pt idx="37">
                  <c:v>39814</c:v>
                </c:pt>
                <c:pt idx="38">
                  <c:v>39845</c:v>
                </c:pt>
                <c:pt idx="39">
                  <c:v>39873</c:v>
                </c:pt>
                <c:pt idx="40">
                  <c:v>39904</c:v>
                </c:pt>
                <c:pt idx="41">
                  <c:v>39934</c:v>
                </c:pt>
                <c:pt idx="42">
                  <c:v>39965</c:v>
                </c:pt>
                <c:pt idx="43">
                  <c:v>39995</c:v>
                </c:pt>
                <c:pt idx="44">
                  <c:v>40026</c:v>
                </c:pt>
                <c:pt idx="45">
                  <c:v>40057</c:v>
                </c:pt>
                <c:pt idx="46">
                  <c:v>40087</c:v>
                </c:pt>
                <c:pt idx="47">
                  <c:v>40118</c:v>
                </c:pt>
                <c:pt idx="48">
                  <c:v>40148</c:v>
                </c:pt>
                <c:pt idx="49">
                  <c:v>40179</c:v>
                </c:pt>
                <c:pt idx="50">
                  <c:v>40210</c:v>
                </c:pt>
                <c:pt idx="51">
                  <c:v>40238</c:v>
                </c:pt>
                <c:pt idx="52">
                  <c:v>40269</c:v>
                </c:pt>
                <c:pt idx="53">
                  <c:v>40299</c:v>
                </c:pt>
                <c:pt idx="54">
                  <c:v>40330</c:v>
                </c:pt>
                <c:pt idx="55">
                  <c:v>40360</c:v>
                </c:pt>
                <c:pt idx="56">
                  <c:v>40391</c:v>
                </c:pt>
                <c:pt idx="57">
                  <c:v>40422</c:v>
                </c:pt>
                <c:pt idx="58">
                  <c:v>40452</c:v>
                </c:pt>
                <c:pt idx="59">
                  <c:v>40483</c:v>
                </c:pt>
                <c:pt idx="60">
                  <c:v>40513</c:v>
                </c:pt>
                <c:pt idx="61">
                  <c:v>40544</c:v>
                </c:pt>
                <c:pt idx="62">
                  <c:v>40575</c:v>
                </c:pt>
                <c:pt idx="63">
                  <c:v>40603</c:v>
                </c:pt>
                <c:pt idx="64">
                  <c:v>40634</c:v>
                </c:pt>
                <c:pt idx="65">
                  <c:v>40664</c:v>
                </c:pt>
                <c:pt idx="66">
                  <c:v>40695</c:v>
                </c:pt>
                <c:pt idx="67">
                  <c:v>40725</c:v>
                </c:pt>
                <c:pt idx="68">
                  <c:v>40756</c:v>
                </c:pt>
                <c:pt idx="69">
                  <c:v>40787</c:v>
                </c:pt>
                <c:pt idx="70">
                  <c:v>40817</c:v>
                </c:pt>
                <c:pt idx="71">
                  <c:v>40848</c:v>
                </c:pt>
                <c:pt idx="72">
                  <c:v>40878</c:v>
                </c:pt>
                <c:pt idx="73">
                  <c:v>40909</c:v>
                </c:pt>
                <c:pt idx="74">
                  <c:v>40940</c:v>
                </c:pt>
                <c:pt idx="75">
                  <c:v>40969</c:v>
                </c:pt>
                <c:pt idx="76">
                  <c:v>41000</c:v>
                </c:pt>
                <c:pt idx="77">
                  <c:v>41030</c:v>
                </c:pt>
                <c:pt idx="78">
                  <c:v>41061</c:v>
                </c:pt>
                <c:pt idx="79">
                  <c:v>41091</c:v>
                </c:pt>
                <c:pt idx="80">
                  <c:v>41122</c:v>
                </c:pt>
                <c:pt idx="81">
                  <c:v>41153</c:v>
                </c:pt>
                <c:pt idx="82">
                  <c:v>41183</c:v>
                </c:pt>
                <c:pt idx="83">
                  <c:v>41214</c:v>
                </c:pt>
                <c:pt idx="84">
                  <c:v>41244</c:v>
                </c:pt>
                <c:pt idx="85">
                  <c:v>41275</c:v>
                </c:pt>
                <c:pt idx="86">
                  <c:v>41306</c:v>
                </c:pt>
                <c:pt idx="87">
                  <c:v>41334</c:v>
                </c:pt>
                <c:pt idx="88">
                  <c:v>41365</c:v>
                </c:pt>
                <c:pt idx="89">
                  <c:v>41395</c:v>
                </c:pt>
                <c:pt idx="90">
                  <c:v>41426</c:v>
                </c:pt>
                <c:pt idx="91">
                  <c:v>41456</c:v>
                </c:pt>
                <c:pt idx="92">
                  <c:v>41487</c:v>
                </c:pt>
                <c:pt idx="93">
                  <c:v>41518</c:v>
                </c:pt>
                <c:pt idx="94">
                  <c:v>41548</c:v>
                </c:pt>
                <c:pt idx="95">
                  <c:v>41579</c:v>
                </c:pt>
                <c:pt idx="96">
                  <c:v>41609</c:v>
                </c:pt>
                <c:pt idx="97">
                  <c:v>41640</c:v>
                </c:pt>
                <c:pt idx="98">
                  <c:v>41671</c:v>
                </c:pt>
                <c:pt idx="99">
                  <c:v>41699</c:v>
                </c:pt>
                <c:pt idx="100">
                  <c:v>41730</c:v>
                </c:pt>
                <c:pt idx="101">
                  <c:v>41760</c:v>
                </c:pt>
                <c:pt idx="102">
                  <c:v>41791</c:v>
                </c:pt>
                <c:pt idx="103">
                  <c:v>41821</c:v>
                </c:pt>
                <c:pt idx="104">
                  <c:v>41852</c:v>
                </c:pt>
                <c:pt idx="105">
                  <c:v>41883</c:v>
                </c:pt>
                <c:pt idx="106">
                  <c:v>41913</c:v>
                </c:pt>
                <c:pt idx="107">
                  <c:v>41944</c:v>
                </c:pt>
                <c:pt idx="108">
                  <c:v>41974</c:v>
                </c:pt>
                <c:pt idx="109">
                  <c:v>42005</c:v>
                </c:pt>
                <c:pt idx="110">
                  <c:v>42036</c:v>
                </c:pt>
                <c:pt idx="111">
                  <c:v>42064</c:v>
                </c:pt>
                <c:pt idx="112">
                  <c:v>42095</c:v>
                </c:pt>
                <c:pt idx="113">
                  <c:v>42125</c:v>
                </c:pt>
                <c:pt idx="114">
                  <c:v>42156</c:v>
                </c:pt>
                <c:pt idx="115">
                  <c:v>42186</c:v>
                </c:pt>
                <c:pt idx="116">
                  <c:v>42217</c:v>
                </c:pt>
                <c:pt idx="117">
                  <c:v>42248</c:v>
                </c:pt>
                <c:pt idx="118">
                  <c:v>42278</c:v>
                </c:pt>
                <c:pt idx="119">
                  <c:v>42309</c:v>
                </c:pt>
                <c:pt idx="120">
                  <c:v>42339</c:v>
                </c:pt>
                <c:pt idx="121">
                  <c:v>42370</c:v>
                </c:pt>
                <c:pt idx="122">
                  <c:v>42401</c:v>
                </c:pt>
                <c:pt idx="123">
                  <c:v>42430</c:v>
                </c:pt>
                <c:pt idx="124">
                  <c:v>42461</c:v>
                </c:pt>
                <c:pt idx="125">
                  <c:v>42491</c:v>
                </c:pt>
                <c:pt idx="126">
                  <c:v>42522</c:v>
                </c:pt>
                <c:pt idx="127">
                  <c:v>42552</c:v>
                </c:pt>
                <c:pt idx="128">
                  <c:v>42583</c:v>
                </c:pt>
                <c:pt idx="129">
                  <c:v>42614</c:v>
                </c:pt>
                <c:pt idx="130">
                  <c:v>42644</c:v>
                </c:pt>
                <c:pt idx="131">
                  <c:v>42675</c:v>
                </c:pt>
                <c:pt idx="132">
                  <c:v>42705</c:v>
                </c:pt>
                <c:pt idx="133">
                  <c:v>42736</c:v>
                </c:pt>
                <c:pt idx="134">
                  <c:v>42767</c:v>
                </c:pt>
                <c:pt idx="135">
                  <c:v>42795</c:v>
                </c:pt>
                <c:pt idx="136">
                  <c:v>42826</c:v>
                </c:pt>
                <c:pt idx="137">
                  <c:v>42856</c:v>
                </c:pt>
                <c:pt idx="138">
                  <c:v>42887</c:v>
                </c:pt>
                <c:pt idx="139">
                  <c:v>42917</c:v>
                </c:pt>
                <c:pt idx="140">
                  <c:v>42948</c:v>
                </c:pt>
                <c:pt idx="141">
                  <c:v>42979</c:v>
                </c:pt>
                <c:pt idx="142">
                  <c:v>43009</c:v>
                </c:pt>
                <c:pt idx="143">
                  <c:v>43040</c:v>
                </c:pt>
                <c:pt idx="144">
                  <c:v>43070</c:v>
                </c:pt>
                <c:pt idx="145">
                  <c:v>43101</c:v>
                </c:pt>
                <c:pt idx="146">
                  <c:v>43132</c:v>
                </c:pt>
                <c:pt idx="147">
                  <c:v>43160</c:v>
                </c:pt>
                <c:pt idx="148">
                  <c:v>43191</c:v>
                </c:pt>
                <c:pt idx="149">
                  <c:v>43221</c:v>
                </c:pt>
                <c:pt idx="150">
                  <c:v>43252</c:v>
                </c:pt>
                <c:pt idx="151">
                  <c:v>43282</c:v>
                </c:pt>
                <c:pt idx="152">
                  <c:v>43313</c:v>
                </c:pt>
                <c:pt idx="153">
                  <c:v>43344</c:v>
                </c:pt>
                <c:pt idx="154">
                  <c:v>43374</c:v>
                </c:pt>
                <c:pt idx="155">
                  <c:v>43405</c:v>
                </c:pt>
                <c:pt idx="156">
                  <c:v>43435</c:v>
                </c:pt>
                <c:pt idx="157">
                  <c:v>43466</c:v>
                </c:pt>
                <c:pt idx="158">
                  <c:v>43497</c:v>
                </c:pt>
              </c:numCache>
            </c:numRef>
          </c:cat>
          <c:val>
            <c:numRef>
              <c:f>'EHI635_returns22-03-2019'!$G$5:$G$163</c:f>
              <c:numCache>
                <c:formatCode>General</c:formatCode>
                <c:ptCount val="159"/>
                <c:pt idx="0">
                  <c:v>100</c:v>
                </c:pt>
                <c:pt idx="1">
                  <c:v>100.645725708543</c:v>
                </c:pt>
                <c:pt idx="2">
                  <c:v>101.274965238869</c:v>
                </c:pt>
                <c:pt idx="3">
                  <c:v>102.220099205216</c:v>
                </c:pt>
                <c:pt idx="4">
                  <c:v>102.937510480252</c:v>
                </c:pt>
                <c:pt idx="5">
                  <c:v>102.091092416907</c:v>
                </c:pt>
                <c:pt idx="6">
                  <c:v>102.242174359071</c:v>
                </c:pt>
                <c:pt idx="7">
                  <c:v>102.874520799618</c:v>
                </c:pt>
                <c:pt idx="8">
                  <c:v>103.70991900210301</c:v>
                </c:pt>
                <c:pt idx="9">
                  <c:v>105.074943709933</c:v>
                </c:pt>
                <c:pt idx="10">
                  <c:v>106.517134833329</c:v>
                </c:pt>
                <c:pt idx="11">
                  <c:v>107.412574629185</c:v>
                </c:pt>
                <c:pt idx="12">
                  <c:v>108.682151180088</c:v>
                </c:pt>
                <c:pt idx="13">
                  <c:v>110.42350660824</c:v>
                </c:pt>
                <c:pt idx="14">
                  <c:v>112.14741247136899</c:v>
                </c:pt>
                <c:pt idx="15">
                  <c:v>113.179299238057</c:v>
                </c:pt>
                <c:pt idx="16">
                  <c:v>114.027791654815</c:v>
                </c:pt>
                <c:pt idx="17">
                  <c:v>114.87550382263601</c:v>
                </c:pt>
                <c:pt idx="18">
                  <c:v>115.96956650528099</c:v>
                </c:pt>
                <c:pt idx="19">
                  <c:v>117.066955458975</c:v>
                </c:pt>
                <c:pt idx="20">
                  <c:v>118.187174133307</c:v>
                </c:pt>
                <c:pt idx="21">
                  <c:v>119.806214266783</c:v>
                </c:pt>
                <c:pt idx="22">
                  <c:v>121.114855924338</c:v>
                </c:pt>
                <c:pt idx="23">
                  <c:v>122.144555355547</c:v>
                </c:pt>
                <c:pt idx="24">
                  <c:v>123.053711808861</c:v>
                </c:pt>
                <c:pt idx="25">
                  <c:v>124.199816094002</c:v>
                </c:pt>
                <c:pt idx="26">
                  <c:v>125.12826513712101</c:v>
                </c:pt>
                <c:pt idx="27">
                  <c:v>125.972533259926</c:v>
                </c:pt>
                <c:pt idx="28">
                  <c:v>126.315917293784</c:v>
                </c:pt>
                <c:pt idx="29">
                  <c:v>126.898676510733</c:v>
                </c:pt>
                <c:pt idx="30">
                  <c:v>127.572944695172</c:v>
                </c:pt>
                <c:pt idx="31">
                  <c:v>128.28719954463</c:v>
                </c:pt>
                <c:pt idx="32">
                  <c:v>129.038363490097</c:v>
                </c:pt>
                <c:pt idx="33">
                  <c:v>128.12176655671101</c:v>
                </c:pt>
                <c:pt idx="34">
                  <c:v>127.37196798710001</c:v>
                </c:pt>
                <c:pt idx="35">
                  <c:v>127.688290586882</c:v>
                </c:pt>
                <c:pt idx="36">
                  <c:v>127.763370532736</c:v>
                </c:pt>
                <c:pt idx="37">
                  <c:v>128.22784666265801</c:v>
                </c:pt>
                <c:pt idx="38">
                  <c:v>128.51417318468401</c:v>
                </c:pt>
                <c:pt idx="39">
                  <c:v>128.87172035848701</c:v>
                </c:pt>
                <c:pt idx="40">
                  <c:v>129.630014658552</c:v>
                </c:pt>
                <c:pt idx="41">
                  <c:v>130.28707240327799</c:v>
                </c:pt>
                <c:pt idx="42">
                  <c:v>132.0212450084</c:v>
                </c:pt>
                <c:pt idx="43">
                  <c:v>133.38754160871801</c:v>
                </c:pt>
                <c:pt idx="44">
                  <c:v>134.75524022880501</c:v>
                </c:pt>
                <c:pt idx="45">
                  <c:v>136.880885908875</c:v>
                </c:pt>
                <c:pt idx="46">
                  <c:v>138.335505948334</c:v>
                </c:pt>
                <c:pt idx="47">
                  <c:v>138.52652861207599</c:v>
                </c:pt>
                <c:pt idx="48">
                  <c:v>139.25000992297601</c:v>
                </c:pt>
                <c:pt idx="49">
                  <c:v>140.52484744313301</c:v>
                </c:pt>
                <c:pt idx="50">
                  <c:v>141.84302219655299</c:v>
                </c:pt>
                <c:pt idx="51">
                  <c:v>142.48429931610701</c:v>
                </c:pt>
                <c:pt idx="52">
                  <c:v>143.176026448112</c:v>
                </c:pt>
                <c:pt idx="53">
                  <c:v>143.581233499723</c:v>
                </c:pt>
                <c:pt idx="54">
                  <c:v>143.807188426697</c:v>
                </c:pt>
                <c:pt idx="55">
                  <c:v>144.543518083397</c:v>
                </c:pt>
                <c:pt idx="56">
                  <c:v>145.62858685235</c:v>
                </c:pt>
                <c:pt idx="57">
                  <c:v>147.32511005437601</c:v>
                </c:pt>
                <c:pt idx="58">
                  <c:v>148.65781605122501</c:v>
                </c:pt>
                <c:pt idx="59">
                  <c:v>149.08911372378299</c:v>
                </c:pt>
                <c:pt idx="60">
                  <c:v>149.71646594372399</c:v>
                </c:pt>
                <c:pt idx="61">
                  <c:v>150.770683108106</c:v>
                </c:pt>
                <c:pt idx="62">
                  <c:v>151.035756690439</c:v>
                </c:pt>
                <c:pt idx="63">
                  <c:v>145.085571914252</c:v>
                </c:pt>
                <c:pt idx="64">
                  <c:v>145.16682882800501</c:v>
                </c:pt>
                <c:pt idx="65">
                  <c:v>145.477301644568</c:v>
                </c:pt>
                <c:pt idx="66">
                  <c:v>146.52076616442</c:v>
                </c:pt>
                <c:pt idx="67">
                  <c:v>147.51875549600001</c:v>
                </c:pt>
                <c:pt idx="68">
                  <c:v>147.71272170351801</c:v>
                </c:pt>
                <c:pt idx="69">
                  <c:v>148.50336604982101</c:v>
                </c:pt>
                <c:pt idx="70">
                  <c:v>149.60172395883399</c:v>
                </c:pt>
                <c:pt idx="71">
                  <c:v>149.56331333517201</c:v>
                </c:pt>
                <c:pt idx="72">
                  <c:v>149.507718532242</c:v>
                </c:pt>
                <c:pt idx="73">
                  <c:v>149.78430059678399</c:v>
                </c:pt>
                <c:pt idx="74">
                  <c:v>150.069034749895</c:v>
                </c:pt>
                <c:pt idx="75">
                  <c:v>150.54787706403599</c:v>
                </c:pt>
                <c:pt idx="76">
                  <c:v>151.19578327135599</c:v>
                </c:pt>
                <c:pt idx="77">
                  <c:v>152.07968082304799</c:v>
                </c:pt>
                <c:pt idx="78">
                  <c:v>152.94877599908699</c:v>
                </c:pt>
                <c:pt idx="79">
                  <c:v>153.886397779818</c:v>
                </c:pt>
                <c:pt idx="80">
                  <c:v>155.3269352362</c:v>
                </c:pt>
                <c:pt idx="81">
                  <c:v>157.16632617083599</c:v>
                </c:pt>
                <c:pt idx="82">
                  <c:v>156.36710709285299</c:v>
                </c:pt>
                <c:pt idx="83">
                  <c:v>156.78556145040301</c:v>
                </c:pt>
                <c:pt idx="84">
                  <c:v>158.36745903881999</c:v>
                </c:pt>
                <c:pt idx="85">
                  <c:v>159.43055510854401</c:v>
                </c:pt>
                <c:pt idx="86">
                  <c:v>160.611779394693</c:v>
                </c:pt>
                <c:pt idx="87">
                  <c:v>161.63793494554599</c:v>
                </c:pt>
                <c:pt idx="88">
                  <c:v>163.01495432286501</c:v>
                </c:pt>
                <c:pt idx="89">
                  <c:v>163.72560045992699</c:v>
                </c:pt>
                <c:pt idx="90">
                  <c:v>163.72288535756201</c:v>
                </c:pt>
                <c:pt idx="91">
                  <c:v>164.37101225253201</c:v>
                </c:pt>
                <c:pt idx="92">
                  <c:v>165.88334323063199</c:v>
                </c:pt>
                <c:pt idx="93">
                  <c:v>167.871813048261</c:v>
                </c:pt>
                <c:pt idx="94">
                  <c:v>168.89889277108699</c:v>
                </c:pt>
                <c:pt idx="95">
                  <c:v>169.71563964908</c:v>
                </c:pt>
                <c:pt idx="96">
                  <c:v>170.42184588746099</c:v>
                </c:pt>
                <c:pt idx="97">
                  <c:v>171.27065416135201</c:v>
                </c:pt>
                <c:pt idx="98">
                  <c:v>172.12479270414701</c:v>
                </c:pt>
                <c:pt idx="99">
                  <c:v>172.89661352539699</c:v>
                </c:pt>
                <c:pt idx="100">
                  <c:v>173.450532756809</c:v>
                </c:pt>
                <c:pt idx="101">
                  <c:v>173.58570148877899</c:v>
                </c:pt>
                <c:pt idx="102">
                  <c:v>173.95304704463101</c:v>
                </c:pt>
                <c:pt idx="103">
                  <c:v>174.658016565845</c:v>
                </c:pt>
                <c:pt idx="104">
                  <c:v>176.07504072668499</c:v>
                </c:pt>
                <c:pt idx="105">
                  <c:v>177.58311919941701</c:v>
                </c:pt>
                <c:pt idx="106">
                  <c:v>178.65680083941601</c:v>
                </c:pt>
                <c:pt idx="107">
                  <c:v>178.90270566950301</c:v>
                </c:pt>
                <c:pt idx="108">
                  <c:v>179.66269714133199</c:v>
                </c:pt>
                <c:pt idx="109">
                  <c:v>180.36949432266499</c:v>
                </c:pt>
                <c:pt idx="110">
                  <c:v>180.80399649530099</c:v>
                </c:pt>
                <c:pt idx="111">
                  <c:v>181.17689685933101</c:v>
                </c:pt>
                <c:pt idx="112">
                  <c:v>181.32326340548201</c:v>
                </c:pt>
                <c:pt idx="113">
                  <c:v>181.62182736819599</c:v>
                </c:pt>
                <c:pt idx="114">
                  <c:v>181.89162459156401</c:v>
                </c:pt>
                <c:pt idx="115">
                  <c:v>182.618149125531</c:v>
                </c:pt>
                <c:pt idx="116">
                  <c:v>184.153605235372</c:v>
                </c:pt>
                <c:pt idx="117">
                  <c:v>186.04604488351899</c:v>
                </c:pt>
                <c:pt idx="118">
                  <c:v>186.541161134482</c:v>
                </c:pt>
                <c:pt idx="119">
                  <c:v>187.11833937871199</c:v>
                </c:pt>
                <c:pt idx="120">
                  <c:v>187.27498093568801</c:v>
                </c:pt>
                <c:pt idx="121">
                  <c:v>187.6746627473</c:v>
                </c:pt>
                <c:pt idx="122">
                  <c:v>188.671589432415</c:v>
                </c:pt>
                <c:pt idx="123">
                  <c:v>189.41703268122501</c:v>
                </c:pt>
                <c:pt idx="124">
                  <c:v>190.177438676017</c:v>
                </c:pt>
                <c:pt idx="125">
                  <c:v>190.26137905608101</c:v>
                </c:pt>
                <c:pt idx="126">
                  <c:v>190.76221560891301</c:v>
                </c:pt>
                <c:pt idx="127">
                  <c:v>191.55177697499599</c:v>
                </c:pt>
                <c:pt idx="128">
                  <c:v>193.20788761484201</c:v>
                </c:pt>
                <c:pt idx="129">
                  <c:v>195.20649516467</c:v>
                </c:pt>
                <c:pt idx="130">
                  <c:v>196.03030173106799</c:v>
                </c:pt>
                <c:pt idx="131">
                  <c:v>196.64493338213501</c:v>
                </c:pt>
                <c:pt idx="132">
                  <c:v>197.003070013295</c:v>
                </c:pt>
                <c:pt idx="133">
                  <c:v>197.71013754247099</c:v>
                </c:pt>
                <c:pt idx="134">
                  <c:v>198.35268844471099</c:v>
                </c:pt>
                <c:pt idx="135">
                  <c:v>198.76183587055101</c:v>
                </c:pt>
                <c:pt idx="136">
                  <c:v>199.06842140225001</c:v>
                </c:pt>
                <c:pt idx="137">
                  <c:v>199.45202437228201</c:v>
                </c:pt>
                <c:pt idx="138">
                  <c:v>200.25506219039201</c:v>
                </c:pt>
                <c:pt idx="139">
                  <c:v>201.38058318022399</c:v>
                </c:pt>
                <c:pt idx="140">
                  <c:v>200.749350718193</c:v>
                </c:pt>
                <c:pt idx="141">
                  <c:v>183.46586245922001</c:v>
                </c:pt>
                <c:pt idx="142">
                  <c:v>184.20661734941501</c:v>
                </c:pt>
                <c:pt idx="143">
                  <c:v>185.467605074358</c:v>
                </c:pt>
                <c:pt idx="144">
                  <c:v>185.97599892503601</c:v>
                </c:pt>
                <c:pt idx="145">
                  <c:v>186.97447007017399</c:v>
                </c:pt>
                <c:pt idx="146">
                  <c:v>187.12334954717201</c:v>
                </c:pt>
                <c:pt idx="147">
                  <c:v>186.66535709878099</c:v>
                </c:pt>
                <c:pt idx="148">
                  <c:v>186.13671726782999</c:v>
                </c:pt>
                <c:pt idx="149">
                  <c:v>186.49173645881399</c:v>
                </c:pt>
                <c:pt idx="150">
                  <c:v>186.999326114594</c:v>
                </c:pt>
                <c:pt idx="151">
                  <c:v>188.14006334659399</c:v>
                </c:pt>
                <c:pt idx="152">
                  <c:v>188.991657601116</c:v>
                </c:pt>
                <c:pt idx="153">
                  <c:v>188.84697059342599</c:v>
                </c:pt>
                <c:pt idx="154">
                  <c:v>187.32367772901</c:v>
                </c:pt>
                <c:pt idx="155">
                  <c:v>180.426947573131</c:v>
                </c:pt>
                <c:pt idx="156">
                  <c:v>178.683408940883</c:v>
                </c:pt>
                <c:pt idx="157">
                  <c:v>179.588796203024</c:v>
                </c:pt>
                <c:pt idx="158">
                  <c:v>179.3814200117529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89403608"/>
        <c:axId val="389404000"/>
      </c:lineChart>
      <c:dateAx>
        <c:axId val="389403608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9404000"/>
        <c:crosses val="autoZero"/>
        <c:auto val="1"/>
        <c:lblOffset val="100"/>
        <c:baseTimeUnit val="months"/>
        <c:majorUnit val="12"/>
      </c:dateAx>
      <c:valAx>
        <c:axId val="389404000"/>
        <c:scaling>
          <c:orientation val="minMax"/>
          <c:min val="7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9403608"/>
        <c:crosses val="autoZero"/>
        <c:crossBetween val="between"/>
        <c:majorUnit val="25"/>
        <c:minorUnit val="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5CF5BE-C113-40D2-B784-51E484F722FF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5EB5E8-6555-4B0C-B80F-5EF176C04F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8024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B15FDB-CBA0-4748-873C-3A5EB511F29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0065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0993EC4-C956-44CF-BC29-243EAADF4B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95450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9935E9C3-36D8-4DAD-9ABA-19ACF57DBA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368520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2179CE0-34F9-48FE-96A5-736489F494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D848D06-6721-4A0D-BBE8-53488671EA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CDFC7B3-68FE-4AA7-B4D5-4FFAD47AB9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245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684FB66-887E-4998-9185-3AFD394D6B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CE5F18E6-559F-46D3-97A4-00314E85911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B358419F-4B35-4972-8877-BD7C9C8813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67905746-497E-4B4C-B4A3-2DA63A4389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A304FB76-A408-4638-A118-D4750792A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F73AA47C-8AA6-438E-950C-037B2D598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2596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2647D4C-BDEA-4646-89FF-161A8BB531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AFCC1E06-AF83-4944-9189-310302ADA1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E88CE10-9BE2-4BD7-9BA7-36456509BF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86EAFC8-0FDD-46AA-B7B4-CDDC79B45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2B802F3-1726-4D34-8851-24982B945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7384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15902A57-F4E9-4E82-9A44-180905361A6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CDB836EC-77BE-49FC-AA19-720B89C2F1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0321C18-6184-4AE5-9A13-3603B88024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220107E-F323-45C1-B420-E209539DE2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34F636E-5488-40C8-90CC-BCDCBB513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163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0993EC4-C956-44CF-BC29-243EAADF4B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95450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9935E9C3-36D8-4DAD-9ABA-19ACF57DBA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368520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2179CE0-34F9-48FE-96A5-736489F494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D848D06-6721-4A0D-BBE8-53488671EA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CDFC7B3-68FE-4AA7-B4D5-4FFAD47AB9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7307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D06E580-EEAD-4B37-B987-A0836359F6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EA2612A-1C7C-41B2-9AAE-DA0F37B047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85603FB-4E97-44DC-B7C1-52DB8C5CA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5B7DBA4-D143-406C-9D0F-87356A7837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2C5111B-487B-42B1-8D29-0D980E576E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16870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D06E580-EEAD-4B37-B987-A0836359F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8764" y="244101"/>
            <a:ext cx="9793941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EA2612A-1C7C-41B2-9AAE-DA0F37B047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177" y="1761565"/>
            <a:ext cx="11676528" cy="441539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85603FB-4E97-44DC-B7C1-52DB8C5CA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5B7DBA4-D143-406C-9D0F-87356A7837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2C5111B-487B-42B1-8D29-0D980E576E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23850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0EE406B-A8E5-4942-8B51-94AAD1A45C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F3236C5-1642-437A-9CE5-0F565AE5F2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9F10B43-EE96-4855-9CA0-B0435AFE8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4EDF2E8-4152-41AC-8C1B-DF97FCA5B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EF89696-73EE-400A-B57B-7A592B2F83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0492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680DA8E-3514-451E-ABC5-E1F57EB92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E3C642E-7654-4D52-971B-50AC3B8C83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74EB7C38-3A90-4ADC-ABAD-67A4B36C28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EC873A53-33F8-4669-BA23-B116934BD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4265278-52E5-424A-8B03-4606D40288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03208065-C3C4-4978-8D86-76917A991C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5480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0DA2D15-AE9B-4D2F-9A7E-FA420D549B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4B4953D-C5E9-46A1-8D2A-E90745C688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87A2BD21-533F-4EDB-B91D-CFD46E49B5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36635FE3-35DB-4695-B60F-93C7C6F6D0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6C8BA034-6ABB-42DA-B85F-B7DFB5F7DC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9D2A447E-EB18-4CBA-BE23-2E56B95F7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D9A4226-19FE-4B87-A6F3-FE06CEBE8C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1D030DC-1A62-4F20-B21D-2F22692D00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1195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37825F0-F067-4CD1-8D4D-99E1D0510D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D7FDDE37-54A7-451F-8476-C679009D89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7CD3497C-30F8-4402-A11C-ADC7E01188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1759311B-4A7E-43AF-BAF8-08BEB006D7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9083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D06E580-EEAD-4B37-B987-A0836359F6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EA2612A-1C7C-41B2-9AAE-DA0F37B047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85603FB-4E97-44DC-B7C1-52DB8C5CA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5B7DBA4-D143-406C-9D0F-87356A7837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2C5111B-487B-42B1-8D29-0D980E576E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6612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6FAE109A-3B89-4AAA-A6FD-97964907DF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811CD295-1FDE-48FB-9E5C-BE272CF94E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B712998F-06A0-4A04-86A1-376141C36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7775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657B784-0078-4990-B50F-450A6EED0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4A00296-5EAD-4A9D-800A-CBF6CFD84A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E14B703B-F8FE-437A-AFA0-E18909F61E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7D4948F4-8C88-48C0-B5B9-0601053C07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C72A0299-28CA-47DF-AB3A-1D98847D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B9014D9C-D83A-4626-A57A-CE58164E6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6507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684FB66-887E-4998-9185-3AFD394D6B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CE5F18E6-559F-46D3-97A4-00314E85911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B358419F-4B35-4972-8877-BD7C9C8813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67905746-497E-4B4C-B4A3-2DA63A4389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A304FB76-A408-4638-A118-D4750792A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F73AA47C-8AA6-438E-950C-037B2D598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7177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2647D4C-BDEA-4646-89FF-161A8BB531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AFCC1E06-AF83-4944-9189-310302ADA1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E88CE10-9BE2-4BD7-9BA7-36456509BF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86EAFC8-0FDD-46AA-B7B4-CDDC79B45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2B802F3-1726-4D34-8851-24982B945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9060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15902A57-F4E9-4E82-9A44-180905361A6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CDB836EC-77BE-49FC-AA19-720B89C2F1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0321C18-6184-4AE5-9A13-3603B88024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220107E-F323-45C1-B420-E209539DE2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34F636E-5488-40C8-90CC-BCDCBB513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4215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0993EC4-C956-44CF-BC29-243EAADF4B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95450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9935E9C3-36D8-4DAD-9ABA-19ACF57DBA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368520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2179CE0-34F9-48FE-96A5-736489F494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D848D06-6721-4A0D-BBE8-53488671EA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CDFC7B3-68FE-4AA7-B4D5-4FFAD47AB9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98753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D06E580-EEAD-4B37-B987-A0836359F6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EA2612A-1C7C-41B2-9AAE-DA0F37B047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85603FB-4E97-44DC-B7C1-52DB8C5CA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5B7DBA4-D143-406C-9D0F-87356A7837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2C5111B-487B-42B1-8D29-0D980E576E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71475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D06E580-EEAD-4B37-B987-A0836359F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8764" y="244101"/>
            <a:ext cx="9793941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EA2612A-1C7C-41B2-9AAE-DA0F37B047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177" y="1761565"/>
            <a:ext cx="11676528" cy="441539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85603FB-4E97-44DC-B7C1-52DB8C5CA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5B7DBA4-D143-406C-9D0F-87356A7837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2C5111B-487B-42B1-8D29-0D980E576E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5963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0EE406B-A8E5-4942-8B51-94AAD1A45C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F3236C5-1642-437A-9CE5-0F565AE5F2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9F10B43-EE96-4855-9CA0-B0435AFE8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4EDF2E8-4152-41AC-8C1B-DF97FCA5B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EF89696-73EE-400A-B57B-7A592B2F83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3070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680DA8E-3514-451E-ABC5-E1F57EB92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E3C642E-7654-4D52-971B-50AC3B8C83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74EB7C38-3A90-4ADC-ABAD-67A4B36C28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EC873A53-33F8-4669-BA23-B116934BD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4265278-52E5-424A-8B03-4606D40288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03208065-C3C4-4978-8D86-76917A991C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70522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D06E580-EEAD-4B37-B987-A0836359F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8764" y="244101"/>
            <a:ext cx="9793941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EA2612A-1C7C-41B2-9AAE-DA0F37B047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177" y="1761565"/>
            <a:ext cx="11676528" cy="441539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85603FB-4E97-44DC-B7C1-52DB8C5CA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5B7DBA4-D143-406C-9D0F-87356A7837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2C5111B-487B-42B1-8D29-0D980E576E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4541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0DA2D15-AE9B-4D2F-9A7E-FA420D549B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4B4953D-C5E9-46A1-8D2A-E90745C688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87A2BD21-533F-4EDB-B91D-CFD46E49B5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36635FE3-35DB-4695-B60F-93C7C6F6D0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6C8BA034-6ABB-42DA-B85F-B7DFB5F7DC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9D2A447E-EB18-4CBA-BE23-2E56B95F7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D9A4226-19FE-4B87-A6F3-FE06CEBE8C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1D030DC-1A62-4F20-B21D-2F22692D00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39324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37825F0-F067-4CD1-8D4D-99E1D0510D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D7FDDE37-54A7-451F-8476-C679009D89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7CD3497C-30F8-4402-A11C-ADC7E01188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1759311B-4A7E-43AF-BAF8-08BEB006D7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2558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6FAE109A-3B89-4AAA-A6FD-97964907DF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811CD295-1FDE-48FB-9E5C-BE272CF94E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B712998F-06A0-4A04-86A1-376141C36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5334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657B784-0078-4990-B50F-450A6EED0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4A00296-5EAD-4A9D-800A-CBF6CFD84A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E14B703B-F8FE-437A-AFA0-E18909F61E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7D4948F4-8C88-48C0-B5B9-0601053C07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C72A0299-28CA-47DF-AB3A-1D98847D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B9014D9C-D83A-4626-A57A-CE58164E6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23214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684FB66-887E-4998-9185-3AFD394D6B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CE5F18E6-559F-46D3-97A4-00314E85911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B358419F-4B35-4972-8877-BD7C9C8813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67905746-497E-4B4C-B4A3-2DA63A4389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A304FB76-A408-4638-A118-D4750792A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F73AA47C-8AA6-438E-950C-037B2D598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99445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2647D4C-BDEA-4646-89FF-161A8BB531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AFCC1E06-AF83-4944-9189-310302ADA1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E88CE10-9BE2-4BD7-9BA7-36456509BF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86EAFC8-0FDD-46AA-B7B4-CDDC79B45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2B802F3-1726-4D34-8851-24982B945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06305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15902A57-F4E9-4E82-9A44-180905361A6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CDB836EC-77BE-49FC-AA19-720B89C2F1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0321C18-6184-4AE5-9A13-3603B88024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220107E-F323-45C1-B420-E209539DE2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34F636E-5488-40C8-90CC-BCDCBB513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795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0EE406B-A8E5-4942-8B51-94AAD1A45C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F3236C5-1642-437A-9CE5-0F565AE5F2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9F10B43-EE96-4855-9CA0-B0435AFE8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4EDF2E8-4152-41AC-8C1B-DF97FCA5B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EF89696-73EE-400A-B57B-7A592B2F83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3278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680DA8E-3514-451E-ABC5-E1F57EB92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E3C642E-7654-4D52-971B-50AC3B8C83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74EB7C38-3A90-4ADC-ABAD-67A4B36C28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EC873A53-33F8-4669-BA23-B116934BD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4265278-52E5-424A-8B03-4606D40288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03208065-C3C4-4978-8D86-76917A991C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8295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0DA2D15-AE9B-4D2F-9A7E-FA420D549B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4B4953D-C5E9-46A1-8D2A-E90745C688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87A2BD21-533F-4EDB-B91D-CFD46E49B5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36635FE3-35DB-4695-B60F-93C7C6F6D0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6C8BA034-6ABB-42DA-B85F-B7DFB5F7DC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9D2A447E-EB18-4CBA-BE23-2E56B95F7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D9A4226-19FE-4B87-A6F3-FE06CEBE8C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61D030DC-1A62-4F20-B21D-2F22692D00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25165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37825F0-F067-4CD1-8D4D-99E1D0510D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D7FDDE37-54A7-451F-8476-C679009D89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7CD3497C-30F8-4402-A11C-ADC7E01188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1759311B-4A7E-43AF-BAF8-08BEB006D7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3422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6FAE109A-3B89-4AAA-A6FD-97964907DF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811CD295-1FDE-48FB-9E5C-BE272CF94E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B712998F-06A0-4A04-86A1-376141C36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921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657B784-0078-4990-B50F-450A6EED0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4A00296-5EAD-4A9D-800A-CBF6CFD84A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E14B703B-F8FE-437A-AFA0-E18909F61E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7D4948F4-8C88-48C0-B5B9-0601053C07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C72A0299-28CA-47DF-AB3A-1D98847D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B9014D9C-D83A-4626-A57A-CE58164E6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0666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8FCF27FF-99E2-4B7D-9BA7-02E0B4CD4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8764" y="244101"/>
            <a:ext cx="979394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5CED13BF-8FEA-4E8E-BCDA-C5BEAC1850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6177" y="1761565"/>
            <a:ext cx="11676528" cy="4415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8A7982B-EEFE-4A9B-B2B8-9E75D7A435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1A21A31-A1DF-485A-9315-EB216F87C3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9C6EFC5-AACF-4A0C-903D-E166652AA6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036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8FCF27FF-99E2-4B7D-9BA7-02E0B4CD4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178" y="919395"/>
            <a:ext cx="1166756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5CED13BF-8FEA-4E8E-BCDA-C5BEAC1850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6177" y="2608729"/>
            <a:ext cx="11676528" cy="35682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8A7982B-EEFE-4A9B-B2B8-9E75D7A435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1A21A31-A1DF-485A-9315-EB216F87C3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9C6EFC5-AACF-4A0C-903D-E166652AA6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339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8FCF27FF-99E2-4B7D-9BA7-02E0B4CD4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178" y="919395"/>
            <a:ext cx="1166756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5CED13BF-8FEA-4E8E-BCDA-C5BEAC1850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6178" y="2437607"/>
            <a:ext cx="11676528" cy="35682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8A7982B-EEFE-4A9B-B2B8-9E75D7A435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9B43A5-63C3-4F3C-BA50-F3A92497A576}" type="datetimeFigureOut">
              <a:rPr lang="en-US" smtClean="0"/>
              <a:t>4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1A21A31-A1DF-485A-9315-EB216F87C3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9C6EFC5-AACF-4A0C-903D-E166652AA6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23DE97-4CBF-47F8-8B6E-7B7ADB89B2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9112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10" Type="http://schemas.openxmlformats.org/officeDocument/2006/relationships/image" Target="../media/image7.emf"/><Relationship Id="rId4" Type="http://schemas.openxmlformats.org/officeDocument/2006/relationships/tags" Target="../tags/tag5.xml"/><Relationship Id="rId9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chart" Target="../charts/char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9.png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38456" y="2829771"/>
            <a:ext cx="1031270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 smtClean="0">
                <a:solidFill>
                  <a:schemeClr val="tx2"/>
                </a:solidFill>
              </a:rPr>
              <a:t>Alternative Capital Mechanisms and Implications for the Insurance/Reinsurance Marketplace and for Dispute Resolution</a:t>
            </a:r>
            <a:endParaRPr lang="en-GB" sz="28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937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1009" y="948758"/>
            <a:ext cx="8523809" cy="542857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457200" y="1332017"/>
            <a:ext cx="8229600" cy="960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D0202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9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Cat Bond Trigger Types</a:t>
            </a:r>
            <a:endParaRPr kumimoji="0" lang="en-US" sz="2900" b="0" i="0" u="none" strike="noStrike" kern="1200" cap="none" spc="0" normalizeH="0" baseline="0" noProof="0" dirty="0">
              <a:ln>
                <a:noFill/>
              </a:ln>
              <a:solidFill>
                <a:srgbClr val="D0202F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pic>
        <p:nvPicPr>
          <p:cNvPr id="6" name="Content Placeholder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57200" y="2069578"/>
            <a:ext cx="5254831" cy="4293877"/>
          </a:xfrm>
          <a:prstGeom prst="rect">
            <a:avLst/>
          </a:prstGeom>
        </p:spPr>
      </p:pic>
      <p:sp>
        <p:nvSpPr>
          <p:cNvPr id="7" name="Content Placeholder 3"/>
          <p:cNvSpPr txBox="1">
            <a:spLocks/>
          </p:cNvSpPr>
          <p:nvPr/>
        </p:nvSpPr>
        <p:spPr>
          <a:xfrm>
            <a:off x="6270172" y="2292455"/>
            <a:ext cx="4344159" cy="3699850"/>
          </a:xfrm>
          <a:prstGeom prst="rect">
            <a:avLst/>
          </a:prstGeom>
        </p:spPr>
        <p:txBody>
          <a:bodyPr vert="horz" lIns="91440" tIns="45720" rIns="91440" bIns="45720" rtlCol="0">
            <a:normAutofit fontScale="47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800" kern="1200">
                <a:solidFill>
                  <a:srgbClr val="082A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alibri Light" panose="020F0302020204030204" pitchFamily="34" charset="0"/>
              <a:buChar char="–"/>
              <a:defRPr sz="24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20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3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n </a:t>
            </a:r>
            <a:r>
              <a:rPr kumimoji="0" lang="en-US" altLang="en-US" sz="3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86AB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demnity</a:t>
            </a:r>
            <a:r>
              <a:rPr kumimoji="0" lang="en-US" altLang="en-US" sz="3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transaction is based on the sponsor’s losses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3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n </a:t>
            </a:r>
            <a:r>
              <a:rPr kumimoji="0" lang="en-US" altLang="en-US" sz="3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00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dustry index</a:t>
            </a:r>
            <a:r>
              <a:rPr kumimoji="0" lang="en-US" altLang="en-US" sz="3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83E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altLang="en-US" sz="3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ransaction is based on an industry-wide index of losses (</a:t>
            </a:r>
            <a:r>
              <a:rPr kumimoji="0" lang="en-US" altLang="en-US" sz="3300" b="0" i="0" u="sng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.e.</a:t>
            </a:r>
            <a:r>
              <a:rPr kumimoji="0" lang="en-US" altLang="en-US" sz="3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, Property Claim Services or “PCS” in the United States)</a:t>
            </a:r>
          </a:p>
          <a:p>
            <a:pPr marL="342900" marR="0" lvl="0" indent="-342900" algn="ctr" defTabSz="914400" rtl="0" eaLnBrk="1" fontAlgn="auto" latinLnBrk="0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3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 </a:t>
            </a:r>
            <a:r>
              <a:rPr kumimoji="0" lang="en-US" altLang="en-US" sz="3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E360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ure parametric </a:t>
            </a:r>
            <a:r>
              <a:rPr kumimoji="0" lang="en-US" altLang="en-US" sz="3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rigger is based on the reported physical event (</a:t>
            </a:r>
            <a:r>
              <a:rPr kumimoji="0" lang="en-US" altLang="en-US" sz="3300" b="0" i="0" u="sng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.e.</a:t>
            </a:r>
            <a:r>
              <a:rPr kumimoji="0" lang="en-US" altLang="en-US" sz="3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, magnitude of earthquake or wind speed of hurricane)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3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 </a:t>
            </a:r>
            <a:r>
              <a:rPr kumimoji="0" lang="en-US" altLang="en-US" sz="3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B3B3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rametric index </a:t>
            </a:r>
            <a:r>
              <a:rPr kumimoji="0" lang="en-US" altLang="en-US" sz="3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s a more refined version of the pure parametric trigger  -- using more complicated formulas and more detailed measuring locations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3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 a </a:t>
            </a:r>
            <a:r>
              <a:rPr kumimoji="0" lang="en-US" altLang="en-US" sz="3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96A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odeled loss </a:t>
            </a:r>
            <a:r>
              <a:rPr kumimoji="0" lang="en-US" altLang="en-US" sz="3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ransaction, losses are determined by inserting physical parameters into an escrow model which then calculates the los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4209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1009" y="948758"/>
            <a:ext cx="8523809" cy="542857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457200" y="1522021"/>
            <a:ext cx="8229600" cy="960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D0202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How Insurance Linked Securities (ILS) Fit In:</a:t>
            </a:r>
            <a:br>
              <a:rPr kumimoji="0" lang="en-GB" sz="2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en-GB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Motivation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D0202F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pic>
        <p:nvPicPr>
          <p:cNvPr id="6" name="Content Placeholder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2496787" y="2002240"/>
            <a:ext cx="6896595" cy="4290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661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1009" y="948758"/>
            <a:ext cx="8523809" cy="542857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457200" y="1272634"/>
            <a:ext cx="8229600" cy="960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D0202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0202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ILW Disputes (1)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D0202F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57199" y="2589339"/>
            <a:ext cx="10313719" cy="37520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082A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alibri Light" panose="020F0302020204030204" pitchFamily="34" charset="0"/>
              <a:buChar char="–"/>
              <a:defRPr sz="20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8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mple Trigger:</a:t>
            </a:r>
          </a:p>
          <a:p>
            <a:pPr marL="91440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>
                <a:tab pos="6283325" algn="l"/>
              </a:tabLst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“For each Loss Occurrence this Contract shall only pay in the event that the insurance and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insurance industry, as a whole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has actually incurred or is estimated to have incurred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oss insured losses 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ising from a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med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Windstorm, during the Period of this Contract occurring within the Territorial Scope, as defined herein, as determined and reported in the applicable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tastrophe Bulletin 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y the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porting Agency 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. . Is equal to [or] greater than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SD 20,000,000,000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”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2998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1009" y="948758"/>
            <a:ext cx="8523809" cy="542857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457200" y="1474517"/>
            <a:ext cx="8229600" cy="960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D0202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D0202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ILW Disputes (2)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D0202F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457200" y="2434955"/>
            <a:ext cx="9981210" cy="34908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082A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alibri Light" panose="020F0302020204030204" pitchFamily="34" charset="0"/>
              <a:buChar char="–"/>
              <a:defRPr sz="20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8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1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med Windstorm:</a:t>
            </a:r>
          </a:p>
          <a:p>
            <a:pPr marL="91440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en-US" sz="2400" b="0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“Named Windstorm” is defined to include a </a:t>
            </a:r>
            <a:r>
              <a:rPr kumimoji="0" 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urricane</a:t>
            </a:r>
            <a:r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nd “all </a:t>
            </a:r>
            <a:r>
              <a:rPr kumimoji="0" 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suing losses </a:t>
            </a:r>
            <a:r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cluding but not limited to . . . </a:t>
            </a:r>
            <a:r>
              <a:rPr kumimoji="0" 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ter damage</a:t>
            </a:r>
            <a:r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. . . in connection with” such hurricane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1941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1009" y="948758"/>
            <a:ext cx="8523809" cy="542857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457200" y="1355775"/>
            <a:ext cx="8229600" cy="960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D0202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0202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ILW Disputes (3)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D0202F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41268" y="2292453"/>
            <a:ext cx="10117776" cy="39777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082A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alibri Light" panose="020F0302020204030204" pitchFamily="34" charset="0"/>
              <a:buChar char="–"/>
              <a:defRPr sz="20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8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8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“Cat Bulletin”:</a:t>
            </a:r>
          </a:p>
          <a:p>
            <a:pPr marL="966788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“Catastrophe Bulletin” is defined as “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y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atastrophe bulletin originated and disseminated by the Reporting Agency [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CS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] which identifies and assigns a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umber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o a catastrophic event and/or gives preliminary  or, subsequently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rvey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estimates of incurred property losses arising from a catastrophic event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9550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1009" y="948758"/>
            <a:ext cx="8523809" cy="542857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457200" y="1427020"/>
            <a:ext cx="8229600" cy="960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D0202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D0202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ILW Disputes (4)	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D0202F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57199" y="2387458"/>
            <a:ext cx="9933709" cy="35264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082A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alibri Light" panose="020F0302020204030204" pitchFamily="34" charset="0"/>
              <a:buChar char="–"/>
              <a:defRPr sz="20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8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8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mple “Event”:</a:t>
            </a:r>
          </a:p>
          <a:p>
            <a:pPr marL="914400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urricane Harvey made landfall as a Category 5 hurricane on August 26, 2017.  NOAA.  </a:t>
            </a:r>
          </a:p>
          <a:p>
            <a:pPr marL="914400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ver the next four days, the storm dropped “historic amounts of rainfall of more than 60 inches over southeastern Texas.”  </a:t>
            </a:r>
            <a:r>
              <a:rPr kumimoji="0" lang="en-US" sz="2000" b="0" i="0" u="sng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d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 </a:t>
            </a:r>
          </a:p>
          <a:p>
            <a:pPr marL="914400" marR="0" lvl="0" indent="-28733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is rain “caused catastrophic flooding”, causing “water damage”, and rendering Harvey the “second-most costly hurricane in U.S. history”.  </a:t>
            </a:r>
            <a:r>
              <a:rPr kumimoji="0" lang="en-US" sz="2000" b="0" i="0" u="sng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d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1403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1009" y="948758"/>
            <a:ext cx="8523809" cy="542857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457200" y="1486396"/>
            <a:ext cx="8229600" cy="960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D0202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D0202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ILW Disputes (5)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D0202F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57200" y="2446834"/>
            <a:ext cx="11038114" cy="36333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082A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alibri Light" panose="020F0302020204030204" pitchFamily="34" charset="0"/>
              <a:buChar char="–"/>
              <a:defRPr sz="20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8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8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CS Action No. 1:</a:t>
            </a:r>
          </a:p>
          <a:p>
            <a:pPr marL="91440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 November 20, 2017, PCS issued a bulletin titled “Catastrophe Serial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. 1743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 Re-Survey Estimate Of Insured Property Damage”, which estimated industry losses associated with Harvey --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t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ncluding losses incurred within the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FIP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-- in the approximate amount of $15.9 billion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5756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1009" y="948758"/>
            <a:ext cx="8523809" cy="542857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468923" y="1332011"/>
            <a:ext cx="8229600" cy="960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D0202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D0202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ILW Disputes (6)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D0202F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68922" y="2292449"/>
            <a:ext cx="10824511" cy="36808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082A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alibri Light" panose="020F0302020204030204" pitchFamily="34" charset="0"/>
              <a:buChar char="–"/>
              <a:defRPr sz="20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8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8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CS Action No. 2:</a:t>
            </a:r>
          </a:p>
          <a:p>
            <a:pPr marL="796925" marR="0" lvl="0" indent="-33972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 December 13, 2017, PCS issued a bulletin titled “Event Serial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. 1743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 Preliminary Estimate Of Insured Losses”, which estimated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FIP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losses arising from Harvey at approximately $4.6 billion. </a:t>
            </a:r>
          </a:p>
          <a:p>
            <a:pPr marL="796925" marR="0" lvl="0" indent="-33972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oth of these bulletins reported damage estimates for Catastrophe Serial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. 1743 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- the serial number PCS assigned to a single Named Windstorm event:  Hurricane Harvey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414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1009" y="948758"/>
            <a:ext cx="8523809" cy="542857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426669" y="2525682"/>
            <a:ext cx="8229600" cy="25332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082A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alibri Light" panose="020F0302020204030204" pitchFamily="34" charset="0"/>
              <a:buChar char="–"/>
              <a:defRPr sz="20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8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rties</a:t>
            </a:r>
          </a:p>
          <a:p>
            <a:pPr marL="914400" marR="0" lvl="2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merican Family: Issuer</a:t>
            </a:r>
          </a:p>
          <a:p>
            <a:pPr marL="914400" marR="0" lvl="2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iah Re: Reinsurer/SPV</a:t>
            </a:r>
          </a:p>
          <a:p>
            <a:pPr marL="914400" marR="0" lvl="2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CS: Responsible for Storm Estimates and Locations</a:t>
            </a:r>
          </a:p>
          <a:p>
            <a:pPr marL="914400" marR="0" lvl="2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IR: Calculation Agen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26669" y="1891144"/>
            <a:ext cx="8229600" cy="960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D0202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Mariah Re</a:t>
            </a:r>
            <a:br>
              <a:rPr kumimoji="0" lang="en-GB" sz="2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en-GB" sz="2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/>
            </a:r>
            <a:br>
              <a:rPr kumimoji="0" lang="en-GB" sz="2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endParaRPr kumimoji="0" lang="en-US" sz="2900" b="0" i="0" u="none" strike="noStrike" kern="1200" cap="none" spc="0" normalizeH="0" baseline="0" noProof="0" dirty="0">
              <a:ln>
                <a:noFill/>
              </a:ln>
              <a:solidFill>
                <a:srgbClr val="D0202F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120082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1009" y="948758"/>
            <a:ext cx="8523809" cy="542857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492642" y="1784166"/>
            <a:ext cx="8229600" cy="960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D0202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Mariah Re</a:t>
            </a:r>
            <a:r>
              <a:rPr kumimoji="0" lang="en-GB" sz="40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/>
            </a:r>
            <a:br>
              <a:rPr kumimoji="0" lang="en-GB" sz="40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endParaRPr kumimoji="0" lang="en-US" sz="2700" b="0" i="0" u="none" strike="noStrike" kern="1200" cap="none" spc="0" normalizeH="0" baseline="0" noProof="0" dirty="0">
              <a:ln>
                <a:noFill/>
              </a:ln>
              <a:solidFill>
                <a:srgbClr val="D0202F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564075" y="2595748"/>
            <a:ext cx="10669982" cy="34369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082A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alibri Light" panose="020F0302020204030204" pitchFamily="34" charset="0"/>
              <a:buChar char="–"/>
              <a:defRPr sz="20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8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-4572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e publicly reported arbitration: </a:t>
            </a:r>
            <a:r>
              <a:rPr kumimoji="0" lang="en-US" altLang="en-US" sz="2000" b="0" i="0" u="sng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lson Re</a:t>
            </a:r>
            <a:r>
              <a:rPr kumimoji="0" lang="en-US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  <a:p>
            <a:pPr marL="914400" marR="0" lvl="2" indent="-4572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Tx/>
              <a:buFont typeface="Calibri" panose="020F0502020204030204" pitchFamily="34" charset="0"/>
              <a:buChar char="−"/>
              <a:tabLst/>
              <a:defRPr/>
            </a:pPr>
            <a:r>
              <a:rPr kumimoji="0" lang="en-US" altLang="en-US" sz="1800" b="0" i="0" u="sng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ssue</a:t>
            </a:r>
            <a:r>
              <a:rPr kumimoji="0" lang="en-US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whether contacts not included in modelling were covered under the reinsurance agreement.</a:t>
            </a:r>
          </a:p>
          <a:p>
            <a:pPr marL="914400" marR="0" lvl="2" indent="-4572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Tx/>
              <a:buFont typeface="Calibri" panose="020F0502020204030204" pitchFamily="34" charset="0"/>
              <a:buChar char="−"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ltimately withdrawn</a:t>
            </a:r>
            <a:r>
              <a:rPr kumimoji="0" lang="en-US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  <a:endParaRPr kumimoji="0" lang="en-US" altLang="en-US" sz="1800" b="1" i="0" u="none" strike="noStrike" kern="1200" cap="none" spc="0" normalizeH="0" baseline="0" noProof="0" dirty="0" smtClean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514350" marR="0" lvl="1" indent="-4572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spite grandiose extrapolations, there has been only one public Cat Bond Litigation: </a:t>
            </a:r>
            <a:r>
              <a:rPr kumimoji="0" lang="en-US" altLang="en-US" sz="2000" b="0" i="0" u="sng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iah Re</a:t>
            </a:r>
            <a:r>
              <a:rPr kumimoji="0" lang="en-US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  <a:endParaRPr kumimoji="0" lang="en-US" altLang="en-US" sz="2000" b="0" i="0" u="sng" strike="noStrike" kern="1200" cap="none" spc="0" normalizeH="0" baseline="0" noProof="0" dirty="0" smtClean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57150" marR="0" lvl="1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Tx/>
              <a:buFont typeface="Calibri Light" panose="020F0302020204030204" pitchFamily="34" charset="0"/>
              <a:buNone/>
              <a:tabLst/>
              <a:defRPr/>
            </a:pPr>
            <a:endParaRPr kumimoji="0" lang="en-US" altLang="en-US" sz="2000" b="1" i="0" u="none" strike="noStrike" kern="1200" cap="none" spc="0" normalizeH="0" baseline="0" noProof="0" dirty="0" smtClean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5735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3002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8E0D703-BA76-4436-9AE7-FA414C0460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economics of the P&amp;C reinsurance business are changing</a:t>
            </a:r>
          </a:p>
          <a:p>
            <a:r>
              <a:rPr lang="en-US" dirty="0" smtClean="0"/>
              <a:t>New sources of capital and new methods of risk transfer drive market changes</a:t>
            </a:r>
          </a:p>
          <a:p>
            <a:r>
              <a:rPr lang="en-US" dirty="0" smtClean="0"/>
              <a:t>Non-traditional players such as hedge funds and pension funds are getting </a:t>
            </a:r>
            <a:r>
              <a:rPr lang="en-US" dirty="0" smtClean="0"/>
              <a:t>into the </a:t>
            </a:r>
            <a:r>
              <a:rPr lang="en-US" dirty="0" smtClean="0"/>
              <a:t>game </a:t>
            </a:r>
          </a:p>
          <a:p>
            <a:r>
              <a:rPr lang="en-US" dirty="0" smtClean="0"/>
              <a:t>This is despite record setting industry CAT losses in 2017 &amp; 2018</a:t>
            </a:r>
          </a:p>
          <a:p>
            <a:r>
              <a:rPr lang="en-US" dirty="0" smtClean="0"/>
              <a:t>Traditional contractual terms (including trigger, scope of coverage) are different in this space thereby impacting the ground for potential disput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C0290B7D-D23A-43EC-BA06-F7DC18BB5E46}"/>
              </a:ext>
            </a:extLst>
          </p:cNvPr>
          <p:cNvSpPr txBox="1">
            <a:spLocks/>
          </p:cNvSpPr>
          <p:nvPr/>
        </p:nvSpPr>
        <p:spPr>
          <a:xfrm>
            <a:off x="2371164" y="396501"/>
            <a:ext cx="979394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Alternative capital growt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8216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1009" y="948758"/>
            <a:ext cx="8523809" cy="542857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462516" y="1460665"/>
            <a:ext cx="8229600" cy="960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D0202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Mariah Re</a:t>
            </a:r>
            <a:r>
              <a:rPr kumimoji="0" lang="en-GB" sz="44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/>
            </a:r>
            <a:br>
              <a:rPr kumimoji="0" lang="en-GB" sz="44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en-GB" sz="27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Nature of Dispute:  Cat 42</a:t>
            </a:r>
            <a:endParaRPr kumimoji="0" lang="en-US" sz="2700" b="0" i="0" u="none" strike="noStrike" kern="1200" cap="none" spc="0" normalizeH="0" baseline="0" noProof="0" dirty="0">
              <a:ln>
                <a:noFill/>
              </a:ln>
              <a:solidFill>
                <a:srgbClr val="D0202F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62516" y="2679865"/>
            <a:ext cx="10439032" cy="35784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082A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alibri Light" panose="020F0302020204030204" pitchFamily="34" charset="0"/>
              <a:buChar char="–"/>
              <a:defRPr sz="20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8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vere storm in </a:t>
            </a:r>
            <a:r>
              <a:rPr kumimoji="0" lang="en-US" altLang="en-US" sz="2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idwest</a:t>
            </a:r>
            <a:r>
              <a:rPr kumimoji="0" lang="en-US" alt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nd southeast.</a:t>
            </a:r>
          </a:p>
          <a:p>
            <a:pPr marL="457200" marR="0" lvl="1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orm hit metro and non-metro areas of Kansas.</a:t>
            </a:r>
          </a:p>
          <a:p>
            <a:pPr marL="457200" marR="0" lvl="1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IR calculated loss as </a:t>
            </a:r>
            <a:r>
              <a:rPr kumimoji="0" lang="en-US" alt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“metro” event </a:t>
            </a:r>
            <a:r>
              <a:rPr kumimoji="0" lang="en-US" alt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Kansas -- higher value.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der the subject contracts, if any damage occurred in a metro county, a metro payment factor would be used.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itial Catastrophe Bulletin (April 5, 2011): </a:t>
            </a:r>
            <a:r>
              <a:rPr kumimoji="0" lang="en-US" alt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</a:t>
            </a:r>
            <a:r>
              <a:rPr kumimoji="0" lang="en-US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pecific Kansas </a:t>
            </a:r>
            <a:r>
              <a:rPr kumimoji="0" lang="en-US" alt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unties</a:t>
            </a:r>
            <a:r>
              <a:rPr kumimoji="0" lang="en-US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dentified.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bsequent Catastrophe Bulletins: </a:t>
            </a:r>
            <a:r>
              <a:rPr kumimoji="0" lang="en-US" alt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</a:t>
            </a:r>
            <a:r>
              <a:rPr kumimoji="0" lang="en-US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pecific Kansas </a:t>
            </a:r>
            <a:r>
              <a:rPr kumimoji="0" lang="en-US" alt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unties</a:t>
            </a:r>
            <a:r>
              <a:rPr kumimoji="0" lang="en-US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dentifie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3720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1009" y="948758"/>
            <a:ext cx="8523809" cy="542857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381000" y="1551729"/>
            <a:ext cx="10448054" cy="7638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0000" lnSpcReduction="2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D0202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Mariah Re</a:t>
            </a:r>
            <a:r>
              <a:rPr kumimoji="0" lang="en-GB" sz="44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/>
            </a:r>
            <a:br>
              <a:rPr kumimoji="0" lang="en-GB" sz="44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en-GB" sz="27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Nature of Dispute: Cat 42 (continued)</a:t>
            </a:r>
            <a:r>
              <a:rPr kumimoji="0" lang="en-GB" sz="32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/>
            </a:r>
            <a:br>
              <a:rPr kumimoji="0" lang="en-GB" sz="32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D0202F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370367" y="2542256"/>
            <a:ext cx="10448054" cy="34785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082A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alibri Light" panose="020F0302020204030204" pitchFamily="34" charset="0"/>
              <a:buChar char="–"/>
              <a:defRPr sz="20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8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1" indent="-339725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vember 2, 2011: Final Estimate of property damage issued (</a:t>
            </a:r>
            <a:r>
              <a:rPr kumimoji="0" lang="en-US" alt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“Final Development Date”</a:t>
            </a:r>
            <a:r>
              <a:rPr kumimoji="0" lang="en-US" alt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.</a:t>
            </a:r>
          </a:p>
          <a:p>
            <a:pPr marL="457200" marR="0" lvl="1" indent="-339725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vember 3, 2011: PCS Revised April 5, 2011 Bulletin, and identified metro Kansas counties.</a:t>
            </a:r>
          </a:p>
          <a:p>
            <a:pPr marL="457200" marR="0" lvl="1" indent="-339725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vember 23, 2011: final event report issued (</a:t>
            </a:r>
            <a:r>
              <a:rPr kumimoji="0" lang="en-US" alt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“Event Report”</a:t>
            </a:r>
            <a:r>
              <a:rPr kumimoji="0" lang="en-US" alt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. Cat 42 was characterized as a </a:t>
            </a:r>
            <a:r>
              <a:rPr kumimoji="0" lang="en-US" alt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“metro” event </a:t>
            </a:r>
            <a:r>
              <a:rPr kumimoji="0" lang="en-US" alt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Kansas -- </a:t>
            </a:r>
            <a:r>
              <a:rPr kumimoji="0" lang="en-US" alt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iggered</a:t>
            </a:r>
            <a:r>
              <a:rPr kumimoji="0" lang="en-US" alt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ayment obligation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4897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1009" y="948758"/>
            <a:ext cx="8523809" cy="542857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425301" y="1599206"/>
            <a:ext cx="10428745" cy="9431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D0202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Mariah Re Arguments (1):</a:t>
            </a:r>
            <a:br>
              <a:rPr kumimoji="0" lang="en-GB" sz="32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/>
            </a:r>
            <a:br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endParaRPr kumimoji="0" lang="en-US" sz="2900" b="0" i="0" u="none" strike="noStrike" kern="1200" cap="none" spc="0" normalizeH="0" baseline="0" noProof="0" dirty="0">
              <a:ln>
                <a:noFill/>
              </a:ln>
              <a:solidFill>
                <a:srgbClr val="D0202F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25301" y="1904006"/>
            <a:ext cx="10428745" cy="4294913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082A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alibri Light" panose="020F0302020204030204" pitchFamily="34" charset="0"/>
              <a:buChar char="–"/>
              <a:defRPr sz="20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8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C0000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altLang="en-US" sz="2400" b="0" i="0" u="none" strike="noStrike" kern="1200" cap="none" spc="0" normalizeH="0" baseline="0" noProof="0" smtClean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2200" b="0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CS was </a:t>
            </a:r>
            <a:r>
              <a:rPr kumimoji="0" lang="en-US" altLang="en-US" sz="2200" b="1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t</a:t>
            </a:r>
            <a:r>
              <a:rPr kumimoji="0" lang="en-US" altLang="en-US" sz="2200" b="0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llowed to issue a </a:t>
            </a:r>
            <a:r>
              <a:rPr kumimoji="0" lang="en-US" altLang="en-US" sz="2200" b="1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vised bulletin </a:t>
            </a:r>
            <a:r>
              <a:rPr kumimoji="0" lang="en-US" altLang="en-US" sz="2200" b="0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fter the </a:t>
            </a:r>
            <a:r>
              <a:rPr kumimoji="0" lang="en-US" altLang="en-US" sz="2200" b="1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l Development Date</a:t>
            </a:r>
            <a:r>
              <a:rPr kumimoji="0" lang="en-US" altLang="en-US" sz="2200" b="0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-- not even one day later.</a:t>
            </a:r>
          </a:p>
          <a:p>
            <a:pPr marL="4572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2200" b="0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t was inconsistent with “current business practices,” “general methodology” for estimating losses and record-keeping practices -- as adumbrated in PCS’ agreement with Mariah. </a:t>
            </a:r>
            <a:endParaRPr kumimoji="0" lang="en-US" altLang="en-US" sz="2200" b="0" i="0" u="none" strike="noStrike" kern="1200" cap="none" spc="0" normalizeH="0" baseline="0" noProof="0" smtClean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  <a:p>
            <a:pPr marL="3429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2200" b="0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  </a:t>
            </a:r>
            <a:r>
              <a:rPr kumimoji="0" lang="en-US" altLang="en-US" sz="2200" b="1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vised</a:t>
            </a:r>
            <a:r>
              <a:rPr kumimoji="0" lang="en-US" altLang="en-US" sz="2200" b="1" i="1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altLang="en-US" sz="2200" b="1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lletin </a:t>
            </a:r>
            <a:r>
              <a:rPr kumimoji="0" lang="en-US" altLang="en-US" sz="2200" b="0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sn’t a “true” catastrophe bulletin.</a:t>
            </a:r>
          </a:p>
          <a:p>
            <a:pPr marL="1031875" marR="0" lvl="2" indent="-287338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C0000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Catastrophe bulletin defined as a bulletin that “identifies and assigns a catastrophe number” and/or “gives preliminary or . . . Resurvey estimates of insured property losses.”</a:t>
            </a:r>
          </a:p>
          <a:p>
            <a:pPr marL="1031875" marR="0" lvl="2" indent="-287338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C0000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alt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The revised bulletin did neither.</a:t>
            </a:r>
          </a:p>
          <a:p>
            <a:pPr marL="233363" marR="0" lvl="1" indent="-23336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en-US" sz="2000" b="0" i="0" u="none" strike="noStrike" kern="1200" cap="none" spc="0" normalizeH="0" baseline="0" noProof="0" smtClean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345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1009" y="948758"/>
            <a:ext cx="8523809" cy="542857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457200" y="1706086"/>
            <a:ext cx="8229600" cy="960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D0202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Mariah Re Arguments (2):</a:t>
            </a:r>
            <a:br>
              <a:rPr kumimoji="0" lang="en-GB" sz="32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/>
            </a:r>
            <a:br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D0202F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71377" y="2544286"/>
            <a:ext cx="10406420" cy="30252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082A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alibri Light" panose="020F0302020204030204" pitchFamily="34" charset="0"/>
              <a:buChar char="–"/>
              <a:defRPr sz="20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8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e to the demonstrable misconduct of AIR and PCS, American Family was prohibited from withdrawing from the trust account.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merican Family was unjustly enriched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8304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1009" y="948758"/>
            <a:ext cx="8523809" cy="542857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533400" y="1687283"/>
            <a:ext cx="8229600" cy="960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D0202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Mariah Re Decision / Takeaways</a:t>
            </a:r>
            <a:br>
              <a:rPr kumimoji="0" lang="en-GB" sz="32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/>
            </a:r>
            <a:br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D0202F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46567" y="2449247"/>
            <a:ext cx="10549984" cy="32152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082A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alibri Light" panose="020F0302020204030204" pitchFamily="34" charset="0"/>
              <a:buChar char="–"/>
              <a:defRPr sz="20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8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CS/Air</a:t>
            </a:r>
            <a:r>
              <a:rPr kumimoji="0" lang="en-US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behaved </a:t>
            </a:r>
            <a:r>
              <a:rPr kumimoji="0" lang="en-US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perly</a:t>
            </a:r>
            <a:r>
              <a:rPr kumimoji="0" lang="en-US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and there was </a:t>
            </a:r>
            <a:r>
              <a:rPr kumimoji="0" lang="en-US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 “unjust enrichment” </a:t>
            </a:r>
            <a:r>
              <a:rPr kumimoji="0" lang="en-US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withdrawal of fund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</a:t>
            </a:r>
            <a:r>
              <a:rPr kumimoji="0" lang="en-US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broad discretion</a:t>
            </a:r>
            <a:r>
              <a:rPr kumimoji="0" lang="en-US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fforded to PCS and AIR in the parties’ contracts was determinative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t was a mistake to require PCS to identify affected </a:t>
            </a:r>
            <a:r>
              <a:rPr kumimoji="0" lang="en-US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unties</a:t>
            </a:r>
            <a:r>
              <a:rPr kumimoji="0" lang="en-US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-- the trigger turned on a </a:t>
            </a:r>
            <a:r>
              <a:rPr kumimoji="0" lang="en-US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ingency not essential </a:t>
            </a:r>
            <a:r>
              <a:rPr kumimoji="0" lang="en-US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 PCS’ general funct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2617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1009" y="948758"/>
            <a:ext cx="8523809" cy="542857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457200" y="1755569"/>
            <a:ext cx="8229600" cy="960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D0202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Disputes Implicating Capital Markets Products</a:t>
            </a:r>
            <a:br>
              <a:rPr kumimoji="0" lang="en-GB" sz="32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/>
            </a:r>
            <a:br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D0202F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57200" y="2517569"/>
            <a:ext cx="10895610" cy="34200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082A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alibri Light" panose="020F0302020204030204" pitchFamily="34" charset="0"/>
              <a:buChar char="–"/>
              <a:defRPr sz="20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8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e disputes more likely under these contracts or traditional reinsurance contracts?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C00000"/>
              </a:buClr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Are they more amenable to fair adjudication in litigation or arbitration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e disputes under these contracts likely to proliferate in the future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2A4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should the arbitration community know about preparing for and adjudicating such disputes?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2406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8705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0290B7D-D23A-43EC-BA06-F7DC18BB5E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ternative capital </a:t>
            </a:r>
            <a:r>
              <a:rPr lang="en-US" dirty="0" smtClean="0"/>
              <a:t>growth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38351" y="1898835"/>
            <a:ext cx="3553907" cy="30899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6471" y="2335577"/>
            <a:ext cx="6780519" cy="3147951"/>
          </a:xfrm>
          <a:prstGeom prst="rect">
            <a:avLst/>
          </a:prstGeom>
        </p:spPr>
      </p:pic>
      <p:cxnSp>
        <p:nvCxnSpPr>
          <p:cNvPr id="8" name="Straight Connector 7"/>
          <p:cNvCxnSpPr/>
          <p:nvPr>
            <p:custDataLst>
              <p:tags r:id="rId4"/>
            </p:custDataLst>
          </p:nvPr>
        </p:nvCxnSpPr>
        <p:spPr>
          <a:xfrm flipV="1">
            <a:off x="7316758" y="2213257"/>
            <a:ext cx="2005070" cy="549508"/>
          </a:xfrm>
          <a:prstGeom prst="line">
            <a:avLst/>
          </a:prstGeom>
          <a:ln w="9525">
            <a:solidFill>
              <a:schemeClr val="tx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5"/>
            </p:custDataLst>
          </p:nvPr>
        </p:nvCxnSpPr>
        <p:spPr>
          <a:xfrm>
            <a:off x="7316758" y="4472850"/>
            <a:ext cx="2005070" cy="374574"/>
          </a:xfrm>
          <a:prstGeom prst="line">
            <a:avLst/>
          </a:prstGeom>
          <a:ln w="9525">
            <a:solidFill>
              <a:schemeClr val="tx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816471" y="1457317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 capital has grown to ~USD 90bn</a:t>
            </a:r>
            <a:r>
              <a:rPr lang="en-GB" sz="1600" baseline="30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GB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is dominated by a few players (top 10 players have a share &gt; 80%). </a:t>
            </a:r>
          </a:p>
        </p:txBody>
      </p:sp>
    </p:spTree>
    <p:extLst>
      <p:ext uri="{BB962C8B-B14F-4D97-AF65-F5344CB8AC3E}">
        <p14:creationId xmlns:p14="http://schemas.microsoft.com/office/powerpoint/2010/main" val="2172623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361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D66B1FB-EAA2-48F4-B543-B475EC361B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lternative Capital Return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816471" y="1655619"/>
            <a:ext cx="6096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6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urns, however, have recently not been as attractive</a:t>
            </a:r>
            <a:endParaRPr lang="en-GB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17474434"/>
              </p:ext>
            </p:extLst>
          </p:nvPr>
        </p:nvGraphicFramePr>
        <p:xfrm>
          <a:off x="1847562" y="2085397"/>
          <a:ext cx="8562975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53877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5738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0290B7D-D23A-43EC-BA06-F7DC18BB5E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ternative capital </a:t>
            </a:r>
            <a:r>
              <a:rPr lang="en-US" dirty="0" smtClean="0"/>
              <a:t>product types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420676" y="1341064"/>
            <a:ext cx="5408624" cy="4585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 Bo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astrophe bond is a security that transfers specific (</a:t>
            </a: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)insurance related 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s from a sponsor to the capital mark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y 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traded like any other capital market instrument; the </a:t>
            </a: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or receives 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est payments but is liable to lose some or all of its </a:t>
            </a: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cipal investment 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case the bond is triggered by an </a:t>
            </a: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 </a:t>
            </a:r>
          </a:p>
          <a:p>
            <a:endParaRPr lang="en-US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y </a:t>
            </a:r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s Warranties (ILW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y 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s warranty contracts can be constructed as </a:t>
            </a: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ther reinsurance 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a deriva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y 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 protection against the occurrence of a specified </a:t>
            </a: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 of insured 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y losses in a defined region</a:t>
            </a:r>
            <a:endParaRPr lang="en-GB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935651" y="1340691"/>
            <a:ext cx="5408624" cy="4585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c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cars are limited purpose reinsurance vehicles with a finite </a:t>
            </a: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spa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y 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ow investors to participate directly in specific, selected parts </a:t>
            </a: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(re)insurance business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ypically in the form of a quota share agre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teralized Reinsur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teralized 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insurance is developed in </a:t>
            </a: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llel 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cat bonds as </a:t>
            </a: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mechanism 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facilitate risk-transfer from insurance markets to </a:t>
            </a: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ital markets 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distinct from cat bonds because there is no tradable </a:t>
            </a: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ru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d 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facilitate the risk-transfer process</a:t>
            </a:r>
            <a:endParaRPr lang="en-GB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1971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680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29013A9C-9638-43E7-953D-7D37CA1B7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LS </a:t>
            </a:r>
            <a:r>
              <a:rPr lang="en-US" smtClean="0"/>
              <a:t>Reinsurance schematic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/>
          <a:srcRect t="3036" b="13808"/>
          <a:stretch/>
        </p:blipFill>
        <p:spPr>
          <a:xfrm>
            <a:off x="1623231" y="1916263"/>
            <a:ext cx="6647761" cy="4238047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275212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1009" y="1091269"/>
            <a:ext cx="8523809" cy="542857"/>
          </a:xfrm>
          <a:prstGeom prst="rect">
            <a:avLst/>
          </a:prstGeom>
        </p:spPr>
      </p:pic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12426" y="2806595"/>
            <a:ext cx="11676528" cy="3285448"/>
          </a:xfrm>
        </p:spPr>
        <p:txBody>
          <a:bodyPr>
            <a:normAutofit/>
          </a:bodyPr>
          <a:lstStyle/>
          <a:p>
            <a:pPr marL="457200" indent="-396875">
              <a:spcBef>
                <a:spcPts val="600"/>
              </a:spcBef>
              <a:spcAft>
                <a:spcPts val="1200"/>
              </a:spcAft>
              <a:buClr>
                <a:srgbClr val="C00000"/>
              </a:buClr>
            </a:pPr>
            <a:r>
              <a:rPr lang="en-US" altLang="en-US" sz="1900" dirty="0"/>
              <a:t>“Insurance-linked securities (ILS) are products of the rapid development of financial innovation and the process of </a:t>
            </a:r>
            <a:r>
              <a:rPr lang="en-US" altLang="en-US" sz="1900" b="1" dirty="0"/>
              <a:t>convergence</a:t>
            </a:r>
            <a:r>
              <a:rPr lang="en-US" altLang="en-US" sz="1900" dirty="0"/>
              <a:t> between the insurance industry and the capital markets.”  </a:t>
            </a:r>
            <a:r>
              <a:rPr lang="en-US" altLang="en-US" sz="1900" dirty="0" smtClean="0"/>
              <a:t>NAIC.</a:t>
            </a:r>
            <a:endParaRPr lang="en-US" altLang="en-US" sz="1900" dirty="0"/>
          </a:p>
          <a:p>
            <a:pPr marL="457200" indent="-396875">
              <a:spcBef>
                <a:spcPts val="600"/>
              </a:spcBef>
              <a:spcAft>
                <a:spcPts val="1200"/>
              </a:spcAft>
              <a:buClr>
                <a:srgbClr val="C00000"/>
              </a:buClr>
            </a:pPr>
            <a:r>
              <a:rPr lang="en-US" altLang="en-US" sz="1900" dirty="0"/>
              <a:t>“Insurance-linked securities are broadly defined as financial instruments whose values are driven by insurance loss events. Those </a:t>
            </a:r>
            <a:r>
              <a:rPr lang="en-US" altLang="en-US" sz="1900" b="1" dirty="0" smtClean="0"/>
              <a:t>instruments </a:t>
            </a:r>
            <a:r>
              <a:rPr lang="en-US" altLang="en-US" sz="1900" b="1" dirty="0"/>
              <a:t>that are linked to property losses </a:t>
            </a:r>
            <a:r>
              <a:rPr lang="en-US" altLang="en-US" sz="1900" dirty="0"/>
              <a:t>due to natural catastrophes represent a unique asset class, the return from which is </a:t>
            </a:r>
            <a:r>
              <a:rPr lang="en-US" altLang="en-US" sz="1900" b="1" dirty="0"/>
              <a:t>uncorrelated</a:t>
            </a:r>
            <a:r>
              <a:rPr lang="en-US" altLang="en-US" sz="1900" dirty="0"/>
              <a:t> with that of the general financial markets.”  </a:t>
            </a:r>
            <a:r>
              <a:rPr lang="en-US" altLang="en-US" sz="1900" dirty="0" smtClean="0"/>
              <a:t>Wikipedia.</a:t>
            </a:r>
            <a:endParaRPr lang="en-US" altLang="en-US" sz="1900" dirty="0"/>
          </a:p>
          <a:p>
            <a:pPr marL="457200" indent="-396875">
              <a:spcBef>
                <a:spcPts val="600"/>
              </a:spcBef>
              <a:spcAft>
                <a:spcPts val="1200"/>
              </a:spcAft>
              <a:buClr>
                <a:srgbClr val="C00000"/>
              </a:buClr>
            </a:pPr>
            <a:r>
              <a:rPr lang="en-US" altLang="en-US" sz="1900" dirty="0"/>
              <a:t>“Insurance Linked Securities transfer a specified set of risks (insurance risks) from a sponsor to investors. ILS have payouts linked to insurance losses and it is an effective way for investors to </a:t>
            </a:r>
            <a:r>
              <a:rPr lang="en-US" altLang="en-US" sz="1900" b="1" dirty="0"/>
              <a:t>diversify</a:t>
            </a:r>
            <a:r>
              <a:rPr lang="en-US" altLang="en-US" sz="1900" dirty="0"/>
              <a:t> their portfolio </a:t>
            </a:r>
            <a:r>
              <a:rPr lang="en-US" altLang="en-US" sz="1900" dirty="0" smtClean="0"/>
              <a:t>. . .”  NASDAQ.</a:t>
            </a:r>
            <a:endParaRPr lang="en-US" altLang="en-US" sz="1900" dirty="0"/>
          </a:p>
          <a:p>
            <a:endParaRPr lang="en-US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00839" y="1846157"/>
            <a:ext cx="8229600" cy="960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D0202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ILS Definition</a:t>
            </a:r>
            <a:r>
              <a:rPr kumimoji="0" lang="en-US" alt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s</a:t>
            </a:r>
            <a:r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/>
            </a:r>
            <a:br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D0202F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54973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1009" y="948758"/>
            <a:ext cx="8523809" cy="542857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587829" y="1249389"/>
            <a:ext cx="8229600" cy="960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D0202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Product Basics</a:t>
            </a: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/>
            </a:r>
            <a:b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en-US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Typical Cat Bond Structure</a:t>
            </a: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D0202F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/>
          <a:srcRect b="9733"/>
          <a:stretch/>
        </p:blipFill>
        <p:spPr>
          <a:xfrm>
            <a:off x="3864775" y="4838938"/>
            <a:ext cx="4139194" cy="152623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6900" y="2043285"/>
            <a:ext cx="9533070" cy="2908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286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1009" y="948758"/>
            <a:ext cx="8523809" cy="542857"/>
          </a:xfrm>
          <a:prstGeom prst="rect">
            <a:avLst/>
          </a:prstGeom>
        </p:spPr>
      </p:pic>
      <p:sp>
        <p:nvSpPr>
          <p:cNvPr id="7" name="Content Placeholder 2"/>
          <p:cNvSpPr txBox="1">
            <a:spLocks/>
          </p:cNvSpPr>
          <p:nvPr/>
        </p:nvSpPr>
        <p:spPr>
          <a:xfrm>
            <a:off x="336177" y="2010098"/>
            <a:ext cx="10764983" cy="25500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000" kern="1200">
                <a:solidFill>
                  <a:srgbClr val="082A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alibri Light" panose="020F0302020204030204" pitchFamily="34" charset="0"/>
              <a:buChar char="–"/>
              <a:defRPr sz="20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8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82A4D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>
                <a:srgbClr val="C000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dustry Loss Warranties (ILWs) are reinsurance contracts whose pay-outs are linked to a predetermined </a:t>
            </a:r>
            <a:r>
              <a:rPr kumimoji="0" lang="en-GB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ket-wide trigger</a:t>
            </a:r>
            <a:r>
              <a:rPr kumimoji="0" lang="en-GB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Historically, they allowed the buyer to receive reinsurance accounting treatment, because they included a </a:t>
            </a:r>
            <a:r>
              <a:rPr kumimoji="0" lang="en-GB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ond trigger </a:t>
            </a:r>
            <a:r>
              <a:rPr kumimoji="0" lang="en-GB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ed to the </a:t>
            </a:r>
            <a:r>
              <a:rPr kumimoji="0" lang="en-GB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ured losses </a:t>
            </a:r>
            <a:r>
              <a:rPr kumimoji="0" lang="en-GB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f the protection </a:t>
            </a:r>
            <a:r>
              <a:rPr kumimoji="0" lang="en-GB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yer</a:t>
            </a:r>
            <a:r>
              <a:rPr kumimoji="0" lang="en-GB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100000"/>
              </a:spcBef>
              <a:spcAft>
                <a:spcPts val="0"/>
              </a:spcAft>
              <a:buClr>
                <a:srgbClr val="C0000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 developing trend has been to structure derivatives that </a:t>
            </a:r>
            <a:r>
              <a:rPr kumimoji="0" lang="en-GB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liminate</a:t>
            </a:r>
            <a:r>
              <a:rPr kumimoji="0" lang="en-GB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he </a:t>
            </a:r>
            <a:r>
              <a:rPr kumimoji="0" lang="en-GB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ond trigger</a:t>
            </a:r>
            <a:r>
              <a:rPr kumimoji="0" lang="en-GB" alt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These catastrophe derivatives can be used by hedge funds, money managers and other investors to gain exposure to, or hedge, natural catastrophe risk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82A4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907" y="1271462"/>
            <a:ext cx="8358340" cy="9632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4819" y="4687199"/>
            <a:ext cx="4773582" cy="1639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645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GUID" val="ea1a096b-5e2b-4fbf-8ef8-ac68d24dab5d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kEtY88RY.zFi9Mxgy0z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glVeitS1asMcg4Di79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kEtY88RY.zFi9Mxgy0z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EiKdb1i0GjLjNE2Ok6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TbRT0PoUeQo8vsS13Q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9ABzMCSoiDg9NntW4v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053B7222E25B4EB351C23CCF10AC41" ma:contentTypeVersion="8" ma:contentTypeDescription="Create a new document." ma:contentTypeScope="" ma:versionID="ce35c1222c719eca24fff874d4cd7894">
  <xsd:schema xmlns:xsd="http://www.w3.org/2001/XMLSchema" xmlns:xs="http://www.w3.org/2001/XMLSchema" xmlns:p="http://schemas.microsoft.com/office/2006/metadata/properties" xmlns:ns2="cd8117dd-c9c9-4676-9cc2-cbee34e5f7a0" xmlns:ns3="5050ce75-aed8-457a-af48-2dcb752a2620" targetNamespace="http://schemas.microsoft.com/office/2006/metadata/properties" ma:root="true" ma:fieldsID="bbbc3b1abacdab29d5f376420f68c65a" ns2:_="" ns3:_="">
    <xsd:import namespace="cd8117dd-c9c9-4676-9cc2-cbee34e5f7a0"/>
    <xsd:import namespace="5050ce75-aed8-457a-af48-2dcb752a262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8117dd-c9c9-4676-9cc2-cbee34e5f7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50ce75-aed8-457a-af48-2dcb752a2620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Application xmlns="http://www.sap.com/cof/powerpoint/application">
  <Version>2</Version>
  <Revision>2.4.1.65132</Revision>
</Application>
</file>

<file path=customXml/item5.xml><?xml version="1.0" encoding="utf-8"?>
<Application xmlns="http://www.sap.com/cof/ao/powerpoint/application">
  <com.sap.ip.bi.pioneer>
    <Version>4</Version>
    <AAO_Revision>2.4.1.65132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Props1.xml><?xml version="1.0" encoding="utf-8"?>
<ds:datastoreItem xmlns:ds="http://schemas.openxmlformats.org/officeDocument/2006/customXml" ds:itemID="{122D03ED-D76B-459E-B57B-DE5A78CFB502}">
  <ds:schemaRefs>
    <ds:schemaRef ds:uri="http://schemas.microsoft.com/office/2006/documentManagement/types"/>
    <ds:schemaRef ds:uri="http://purl.org/dc/elements/1.1/"/>
    <ds:schemaRef ds:uri="cd8117dd-c9c9-4676-9cc2-cbee34e5f7a0"/>
    <ds:schemaRef ds:uri="http://www.w3.org/XML/1998/namespace"/>
    <ds:schemaRef ds:uri="http://purl.org/dc/dcmitype/"/>
    <ds:schemaRef ds:uri="5050ce75-aed8-457a-af48-2dcb752a2620"/>
    <ds:schemaRef ds:uri="http://schemas.openxmlformats.org/package/2006/metadata/core-properties"/>
    <ds:schemaRef ds:uri="http://purl.org/dc/terms/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A4189107-1BEA-49CD-808A-29EA503E000E}"/>
</file>

<file path=customXml/itemProps3.xml><?xml version="1.0" encoding="utf-8"?>
<ds:datastoreItem xmlns:ds="http://schemas.openxmlformats.org/officeDocument/2006/customXml" ds:itemID="{AA022A2B-C334-4723-AB25-EB76CA073E7A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16E615C7-0F76-4D77-B37A-17275F997795}">
  <ds:schemaRefs>
    <ds:schemaRef ds:uri="http://www.sap.com/cof/powerpoint/application"/>
  </ds:schemaRefs>
</ds:datastoreItem>
</file>

<file path=customXml/itemProps5.xml><?xml version="1.0" encoding="utf-8"?>
<ds:datastoreItem xmlns:ds="http://schemas.openxmlformats.org/officeDocument/2006/customXml" ds:itemID="{2998CE44-C42D-4CF3-98E0-845B949014CB}">
  <ds:schemaRefs>
    <ds:schemaRef ds:uri="http://www.sap.com/cof/ao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06</TotalTime>
  <Words>1499</Words>
  <Application>Microsoft Office PowerPoint</Application>
  <PresentationFormat>Widescreen</PresentationFormat>
  <Paragraphs>106</Paragraphs>
  <Slides>2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4" baseType="lpstr">
      <vt:lpstr>Arial</vt:lpstr>
      <vt:lpstr>Calibri</vt:lpstr>
      <vt:lpstr>Calibri Light</vt:lpstr>
      <vt:lpstr>Courier New</vt:lpstr>
      <vt:lpstr>Wingdings</vt:lpstr>
      <vt:lpstr>Office Theme</vt:lpstr>
      <vt:lpstr>1_Office Theme</vt:lpstr>
      <vt:lpstr>2_Office Theme</vt:lpstr>
      <vt:lpstr>think-cell Slide</vt:lpstr>
      <vt:lpstr>PowerPoint Presentation</vt:lpstr>
      <vt:lpstr>PowerPoint Presentation</vt:lpstr>
      <vt:lpstr>Alternative capital growth</vt:lpstr>
      <vt:lpstr>Alternative Capital Returns</vt:lpstr>
      <vt:lpstr>Alternative capital product types</vt:lpstr>
      <vt:lpstr>ILS Reinsurance schematic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ssica Press (MCI Washington)</dc:creator>
  <cp:lastModifiedBy>Brian Jones</cp:lastModifiedBy>
  <cp:revision>41</cp:revision>
  <dcterms:created xsi:type="dcterms:W3CDTF">2019-02-26T14:51:24Z</dcterms:created>
  <dcterms:modified xsi:type="dcterms:W3CDTF">2019-04-22T15:13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053B7222E25B4EB351C23CCF10AC41</vt:lpwstr>
  </property>
</Properties>
</file>